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9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9EDA4D8-201F-4F62-B1D9-DAB28EE24C4C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>
    <p:extLst>
      <p:ext uri="{19B8F6BF-5375-455C-9EA6-DF929625EA0E}">
        <p15:presenceInfo xmlns:p15="http://schemas.microsoft.com/office/powerpoint/2012/main" userId="Administrat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A5B8"/>
    <a:srgbClr val="0782B6"/>
    <a:srgbClr val="0B2C77"/>
    <a:srgbClr val="07A4B7"/>
    <a:srgbClr val="086195"/>
    <a:srgbClr val="012169"/>
    <a:srgbClr val="75787B"/>
    <a:srgbClr val="046A38"/>
    <a:srgbClr val="0097A9"/>
    <a:srgbClr val="62B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42" autoAdjust="0"/>
    <p:restoredTop sz="82493" autoAdjust="0"/>
  </p:normalViewPr>
  <p:slideViewPr>
    <p:cSldViewPr snapToGrid="0">
      <p:cViewPr varScale="1">
        <p:scale>
          <a:sx n="68" d="100"/>
          <a:sy n="68" d="100"/>
        </p:scale>
        <p:origin x="752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00" d="100"/>
          <a:sy n="100" d="100"/>
        </p:scale>
        <p:origin x="1628" y="-210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28BB3-2CBD-44AE-B75B-27A30C3B7EEF}" type="datetimeFigureOut">
              <a:rPr lang="en-US" smtClean="0"/>
              <a:t>3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70B117-5B47-4DFD-BAE2-73206EBDAAA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27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urdee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70B117-5B47-4DFD-BAE2-73206EBDAAA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852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22335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1621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6060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6368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8959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23123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0478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86672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006961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983016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709156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92462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782903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31013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733246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24605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34939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13698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95050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993854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85022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367937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3743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9685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273847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298449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758703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133235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12685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899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9631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617542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0518582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87838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92568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2101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61448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944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5372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723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7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8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77AE02-09F8-414C-B103-82CD49B9277D}"/>
              </a:ext>
            </a:extLst>
          </p:cNvPr>
          <p:cNvCxnSpPr/>
          <p:nvPr/>
        </p:nvCxnSpPr>
        <p:spPr>
          <a:xfrm>
            <a:off x="525071" y="1006695"/>
            <a:ext cx="10909004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1149F66-C680-4264-93B0-2C345F58B36C}"/>
              </a:ext>
            </a:extLst>
          </p:cNvPr>
          <p:cNvSpPr txBox="1"/>
          <p:nvPr/>
        </p:nvSpPr>
        <p:spPr>
          <a:xfrm>
            <a:off x="422771" y="416646"/>
            <a:ext cx="6505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epFak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alysi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E661B2-50ED-4070-85E2-3E7ABE08FB28}"/>
              </a:ext>
            </a:extLst>
          </p:cNvPr>
          <p:cNvSpPr txBox="1"/>
          <p:nvPr/>
        </p:nvSpPr>
        <p:spPr>
          <a:xfrm>
            <a:off x="2696585" y="1493700"/>
            <a:ext cx="1662546" cy="41506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endParaRPr lang="en-US" sz="1200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1712EE9-70D0-4515-B7F9-41DD6DCEE88E}"/>
              </a:ext>
            </a:extLst>
          </p:cNvPr>
          <p:cNvSpPr/>
          <p:nvPr/>
        </p:nvSpPr>
        <p:spPr bwMode="gray">
          <a:xfrm>
            <a:off x="1029194" y="1345903"/>
            <a:ext cx="4790524" cy="4790524"/>
          </a:xfrm>
          <a:prstGeom prst="ellipse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2" name="Hexagon 41">
            <a:extLst>
              <a:ext uri="{FF2B5EF4-FFF2-40B4-BE49-F238E27FC236}">
                <a16:creationId xmlns:a16="http://schemas.microsoft.com/office/drawing/2014/main" id="{3575E0C7-E6C8-42E0-B0F9-8887D5F8ED48}"/>
              </a:ext>
            </a:extLst>
          </p:cNvPr>
          <p:cNvSpPr/>
          <p:nvPr/>
        </p:nvSpPr>
        <p:spPr bwMode="gray">
          <a:xfrm>
            <a:off x="2922163" y="3257324"/>
            <a:ext cx="1087502" cy="937501"/>
          </a:xfrm>
          <a:prstGeom prst="hexag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43" name="Hexagon 42">
            <a:extLst>
              <a:ext uri="{FF2B5EF4-FFF2-40B4-BE49-F238E27FC236}">
                <a16:creationId xmlns:a16="http://schemas.microsoft.com/office/drawing/2014/main" id="{EB3C63C8-0A1C-4987-A4E2-F9D292F78EB6}"/>
              </a:ext>
            </a:extLst>
          </p:cNvPr>
          <p:cNvSpPr/>
          <p:nvPr/>
        </p:nvSpPr>
        <p:spPr bwMode="gray">
          <a:xfrm>
            <a:off x="2927719" y="2297639"/>
            <a:ext cx="1087502" cy="937501"/>
          </a:xfrm>
          <a:prstGeom prst="hexagon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Hexagon 43">
            <a:extLst>
              <a:ext uri="{FF2B5EF4-FFF2-40B4-BE49-F238E27FC236}">
                <a16:creationId xmlns:a16="http://schemas.microsoft.com/office/drawing/2014/main" id="{7E0F10D6-D52E-4E41-B7AA-0C3B515D4558}"/>
              </a:ext>
            </a:extLst>
          </p:cNvPr>
          <p:cNvSpPr/>
          <p:nvPr/>
        </p:nvSpPr>
        <p:spPr bwMode="gray">
          <a:xfrm>
            <a:off x="2915417" y="4216295"/>
            <a:ext cx="1087502" cy="937501"/>
          </a:xfrm>
          <a:prstGeom prst="hexagon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1D26F92D-73E1-4737-927E-907A39BBF3FB}"/>
              </a:ext>
            </a:extLst>
          </p:cNvPr>
          <p:cNvSpPr/>
          <p:nvPr/>
        </p:nvSpPr>
        <p:spPr bwMode="gray">
          <a:xfrm>
            <a:off x="3793063" y="3747544"/>
            <a:ext cx="1087502" cy="937501"/>
          </a:xfrm>
          <a:prstGeom prst="hexagon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46" name="Hexagon 45">
            <a:extLst>
              <a:ext uri="{FF2B5EF4-FFF2-40B4-BE49-F238E27FC236}">
                <a16:creationId xmlns:a16="http://schemas.microsoft.com/office/drawing/2014/main" id="{5B44634A-5FCD-4E25-AF12-C1702D36E8E5}"/>
              </a:ext>
            </a:extLst>
          </p:cNvPr>
          <p:cNvSpPr/>
          <p:nvPr/>
        </p:nvSpPr>
        <p:spPr bwMode="gray">
          <a:xfrm>
            <a:off x="3797828" y="2793485"/>
            <a:ext cx="1087502" cy="937501"/>
          </a:xfrm>
          <a:prstGeom prst="hexagon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47" name="Hexagon 46">
            <a:extLst>
              <a:ext uri="{FF2B5EF4-FFF2-40B4-BE49-F238E27FC236}">
                <a16:creationId xmlns:a16="http://schemas.microsoft.com/office/drawing/2014/main" id="{32E69360-A1A2-420C-A046-31AA4EA54162}"/>
              </a:ext>
            </a:extLst>
          </p:cNvPr>
          <p:cNvSpPr/>
          <p:nvPr/>
        </p:nvSpPr>
        <p:spPr bwMode="gray">
          <a:xfrm>
            <a:off x="2037771" y="3728596"/>
            <a:ext cx="1087502" cy="937501"/>
          </a:xfrm>
          <a:prstGeom prst="hexagon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48" name="Hexagon 47">
            <a:extLst>
              <a:ext uri="{FF2B5EF4-FFF2-40B4-BE49-F238E27FC236}">
                <a16:creationId xmlns:a16="http://schemas.microsoft.com/office/drawing/2014/main" id="{2325AED2-BCB7-4A67-A784-87337DDC4F4B}"/>
              </a:ext>
            </a:extLst>
          </p:cNvPr>
          <p:cNvSpPr/>
          <p:nvPr/>
        </p:nvSpPr>
        <p:spPr bwMode="gray">
          <a:xfrm>
            <a:off x="2051169" y="2771899"/>
            <a:ext cx="1087502" cy="937501"/>
          </a:xfrm>
          <a:prstGeom prst="hexagon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4C38B57-56DC-4680-BD29-0231652F11FD}"/>
              </a:ext>
            </a:extLst>
          </p:cNvPr>
          <p:cNvSpPr txBox="1"/>
          <p:nvPr/>
        </p:nvSpPr>
        <p:spPr>
          <a:xfrm>
            <a:off x="3132829" y="3622601"/>
            <a:ext cx="71419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nalysi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2218263-33F3-486E-96CB-6DA06E66A2D4}"/>
              </a:ext>
            </a:extLst>
          </p:cNvPr>
          <p:cNvSpPr/>
          <p:nvPr/>
        </p:nvSpPr>
        <p:spPr bwMode="gray">
          <a:xfrm>
            <a:off x="4853165" y="4774824"/>
            <a:ext cx="1639522" cy="4358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0B5198E-01ED-4A72-B68C-CFBD3BCD9731}"/>
              </a:ext>
            </a:extLst>
          </p:cNvPr>
          <p:cNvSpPr/>
          <p:nvPr/>
        </p:nvSpPr>
        <p:spPr bwMode="gray">
          <a:xfrm>
            <a:off x="464858" y="4785841"/>
            <a:ext cx="1577566" cy="4358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9EBEFC7-0737-4689-87BA-6526886FF3C6}"/>
              </a:ext>
            </a:extLst>
          </p:cNvPr>
          <p:cNvSpPr/>
          <p:nvPr/>
        </p:nvSpPr>
        <p:spPr bwMode="gray">
          <a:xfrm>
            <a:off x="349269" y="2515090"/>
            <a:ext cx="1321648" cy="4358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916A094-DDAF-4238-A6C8-6F90255B5675}"/>
              </a:ext>
            </a:extLst>
          </p:cNvPr>
          <p:cNvSpPr/>
          <p:nvPr/>
        </p:nvSpPr>
        <p:spPr bwMode="gray">
          <a:xfrm>
            <a:off x="2561147" y="5918516"/>
            <a:ext cx="1662389" cy="4358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4127DC6-AD35-48FF-836E-BDD6AE4B948B}"/>
              </a:ext>
            </a:extLst>
          </p:cNvPr>
          <p:cNvSpPr/>
          <p:nvPr/>
        </p:nvSpPr>
        <p:spPr bwMode="gray">
          <a:xfrm>
            <a:off x="2561148" y="1201068"/>
            <a:ext cx="1662388" cy="4358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C146011-6A6F-4545-AE23-C9CD8A3CA9E9}"/>
              </a:ext>
            </a:extLst>
          </p:cNvPr>
          <p:cNvSpPr/>
          <p:nvPr/>
        </p:nvSpPr>
        <p:spPr bwMode="gray">
          <a:xfrm>
            <a:off x="4747859" y="2509967"/>
            <a:ext cx="1321648" cy="32136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0AE255F-A9D2-43F4-A66A-1B8C537A2689}"/>
              </a:ext>
            </a:extLst>
          </p:cNvPr>
          <p:cNvSpPr/>
          <p:nvPr/>
        </p:nvSpPr>
        <p:spPr>
          <a:xfrm>
            <a:off x="525071" y="2566388"/>
            <a:ext cx="143917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deo Audio Sync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8E9DEBF-3CA5-4BB7-87D3-3FFDF148EB68}"/>
              </a:ext>
            </a:extLst>
          </p:cNvPr>
          <p:cNvSpPr/>
          <p:nvPr/>
        </p:nvSpPr>
        <p:spPr>
          <a:xfrm>
            <a:off x="525071" y="4885147"/>
            <a:ext cx="147423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defTabSz="1219170">
              <a:defRPr/>
            </a:pPr>
            <a:r>
              <a:rPr lang="en-US" sz="1400" b="1" dirty="0">
                <a:solidFill>
                  <a:prstClr val="black"/>
                </a:solidFill>
              </a:rPr>
              <a:t>Details at half spe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232B61D-87E2-4A60-B49B-0698332732E4}"/>
              </a:ext>
            </a:extLst>
          </p:cNvPr>
          <p:cNvSpPr/>
          <p:nvPr/>
        </p:nvSpPr>
        <p:spPr>
          <a:xfrm>
            <a:off x="4890876" y="2586139"/>
            <a:ext cx="163952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1219170">
              <a:defRPr/>
            </a:pPr>
            <a:r>
              <a:rPr lang="en-US" sz="1400" b="1" dirty="0">
                <a:solidFill>
                  <a:prstClr val="black"/>
                </a:solidFill>
              </a:rPr>
              <a:t>Face and Bod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0836937-BD5A-4E6F-9A3D-E7BD2BA41DF3}"/>
              </a:ext>
            </a:extLst>
          </p:cNvPr>
          <p:cNvSpPr/>
          <p:nvPr/>
        </p:nvSpPr>
        <p:spPr>
          <a:xfrm>
            <a:off x="4879764" y="4878995"/>
            <a:ext cx="17303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ye Blin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CB24F58-B8E2-47FF-A14C-1C057766B138}"/>
              </a:ext>
            </a:extLst>
          </p:cNvPr>
          <p:cNvSpPr/>
          <p:nvPr/>
        </p:nvSpPr>
        <p:spPr>
          <a:xfrm>
            <a:off x="2644259" y="5953571"/>
            <a:ext cx="187973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zzy </a:t>
            </a:r>
            <a:r>
              <a:rPr lang="en-US" sz="1400" b="1" dirty="0">
                <a:solidFill>
                  <a:prstClr val="black"/>
                </a:solidFill>
                <a:latin typeface="Verdana"/>
              </a:rPr>
              <a:t>I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terior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C8165C9-8EE2-401A-8DFC-9F17D97EDEEA}"/>
              </a:ext>
            </a:extLst>
          </p:cNvPr>
          <p:cNvSpPr/>
          <p:nvPr/>
        </p:nvSpPr>
        <p:spPr>
          <a:xfrm>
            <a:off x="2663204" y="1269181"/>
            <a:ext cx="17303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1219170">
              <a:defRPr/>
            </a:pPr>
            <a:r>
              <a:rPr lang="en-US" sz="1400" b="1" dirty="0">
                <a:solidFill>
                  <a:prstClr val="black"/>
                </a:solidFill>
              </a:rPr>
              <a:t>Flickering Fa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5863839-E7EB-4357-92A1-2A4E60E1DCD3}"/>
              </a:ext>
            </a:extLst>
          </p:cNvPr>
          <p:cNvCxnSpPr>
            <a:cxnSpLocks/>
          </p:cNvCxnSpPr>
          <p:nvPr/>
        </p:nvCxnSpPr>
        <p:spPr>
          <a:xfrm>
            <a:off x="6530397" y="1646278"/>
            <a:ext cx="0" cy="461381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747">
            <a:extLst>
              <a:ext uri="{FF2B5EF4-FFF2-40B4-BE49-F238E27FC236}">
                <a16:creationId xmlns:a16="http://schemas.microsoft.com/office/drawing/2014/main" id="{1580EE95-A877-4624-95D0-DF84C47F17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26611" y="2473677"/>
            <a:ext cx="648930" cy="648930"/>
          </a:xfrm>
          <a:custGeom>
            <a:avLst/>
            <a:gdLst>
              <a:gd name="T0" fmla="*/ 307 w 512"/>
              <a:gd name="T1" fmla="*/ 137 h 512"/>
              <a:gd name="T2" fmla="*/ 308 w 512"/>
              <a:gd name="T3" fmla="*/ 137 h 512"/>
              <a:gd name="T4" fmla="*/ 292 w 512"/>
              <a:gd name="T5" fmla="*/ 149 h 512"/>
              <a:gd name="T6" fmla="*/ 285 w 512"/>
              <a:gd name="T7" fmla="*/ 141 h 512"/>
              <a:gd name="T8" fmla="*/ 269 w 512"/>
              <a:gd name="T9" fmla="*/ 141 h 512"/>
              <a:gd name="T10" fmla="*/ 261 w 512"/>
              <a:gd name="T11" fmla="*/ 150 h 512"/>
              <a:gd name="T12" fmla="*/ 204 w 512"/>
              <a:gd name="T13" fmla="*/ 137 h 512"/>
              <a:gd name="T14" fmla="*/ 204 w 512"/>
              <a:gd name="T15" fmla="*/ 137 h 512"/>
              <a:gd name="T16" fmla="*/ 256 w 512"/>
              <a:gd name="T17" fmla="*/ 117 h 512"/>
              <a:gd name="T18" fmla="*/ 307 w 512"/>
              <a:gd name="T19" fmla="*/ 137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389 w 512"/>
              <a:gd name="T31" fmla="*/ 353 h 512"/>
              <a:gd name="T32" fmla="*/ 343 w 512"/>
              <a:gd name="T33" fmla="*/ 342 h 512"/>
              <a:gd name="T34" fmla="*/ 319 w 512"/>
              <a:gd name="T35" fmla="*/ 338 h 512"/>
              <a:gd name="T36" fmla="*/ 302 w 512"/>
              <a:gd name="T37" fmla="*/ 290 h 512"/>
              <a:gd name="T38" fmla="*/ 332 w 512"/>
              <a:gd name="T39" fmla="*/ 222 h 512"/>
              <a:gd name="T40" fmla="*/ 324 w 512"/>
              <a:gd name="T41" fmla="*/ 124 h 512"/>
              <a:gd name="T42" fmla="*/ 256 w 512"/>
              <a:gd name="T43" fmla="*/ 96 h 512"/>
              <a:gd name="T44" fmla="*/ 187 w 512"/>
              <a:gd name="T45" fmla="*/ 124 h 512"/>
              <a:gd name="T46" fmla="*/ 180 w 512"/>
              <a:gd name="T47" fmla="*/ 222 h 512"/>
              <a:gd name="T48" fmla="*/ 209 w 512"/>
              <a:gd name="T49" fmla="*/ 289 h 512"/>
              <a:gd name="T50" fmla="*/ 192 w 512"/>
              <a:gd name="T51" fmla="*/ 338 h 512"/>
              <a:gd name="T52" fmla="*/ 168 w 512"/>
              <a:gd name="T53" fmla="*/ 342 h 512"/>
              <a:gd name="T54" fmla="*/ 122 w 512"/>
              <a:gd name="T55" fmla="*/ 353 h 512"/>
              <a:gd name="T56" fmla="*/ 118 w 512"/>
              <a:gd name="T57" fmla="*/ 368 h 512"/>
              <a:gd name="T58" fmla="*/ 133 w 512"/>
              <a:gd name="T59" fmla="*/ 372 h 512"/>
              <a:gd name="T60" fmla="*/ 171 w 512"/>
              <a:gd name="T61" fmla="*/ 363 h 512"/>
              <a:gd name="T62" fmla="*/ 202 w 512"/>
              <a:gd name="T63" fmla="*/ 357 h 512"/>
              <a:gd name="T64" fmla="*/ 228 w 512"/>
              <a:gd name="T65" fmla="*/ 315 h 512"/>
              <a:gd name="T66" fmla="*/ 227 w 512"/>
              <a:gd name="T67" fmla="*/ 278 h 512"/>
              <a:gd name="T68" fmla="*/ 200 w 512"/>
              <a:gd name="T69" fmla="*/ 216 h 512"/>
              <a:gd name="T70" fmla="*/ 195 w 512"/>
              <a:gd name="T71" fmla="*/ 159 h 512"/>
              <a:gd name="T72" fmla="*/ 240 w 512"/>
              <a:gd name="T73" fmla="*/ 175 h 512"/>
              <a:gd name="T74" fmla="*/ 270 w 512"/>
              <a:gd name="T75" fmla="*/ 170 h 512"/>
              <a:gd name="T76" fmla="*/ 274 w 512"/>
              <a:gd name="T77" fmla="*/ 167 h 512"/>
              <a:gd name="T78" fmla="*/ 277 w 512"/>
              <a:gd name="T79" fmla="*/ 164 h 512"/>
              <a:gd name="T80" fmla="*/ 280 w 512"/>
              <a:gd name="T81" fmla="*/ 167 h 512"/>
              <a:gd name="T82" fmla="*/ 287 w 512"/>
              <a:gd name="T83" fmla="*/ 170 h 512"/>
              <a:gd name="T84" fmla="*/ 316 w 512"/>
              <a:gd name="T85" fmla="*/ 159 h 512"/>
              <a:gd name="T86" fmla="*/ 311 w 512"/>
              <a:gd name="T87" fmla="*/ 216 h 512"/>
              <a:gd name="T88" fmla="*/ 285 w 512"/>
              <a:gd name="T89" fmla="*/ 278 h 512"/>
              <a:gd name="T90" fmla="*/ 284 w 512"/>
              <a:gd name="T91" fmla="*/ 315 h 512"/>
              <a:gd name="T92" fmla="*/ 309 w 512"/>
              <a:gd name="T93" fmla="*/ 357 h 512"/>
              <a:gd name="T94" fmla="*/ 341 w 512"/>
              <a:gd name="T95" fmla="*/ 363 h 512"/>
              <a:gd name="T96" fmla="*/ 378 w 512"/>
              <a:gd name="T97" fmla="*/ 372 h 512"/>
              <a:gd name="T98" fmla="*/ 384 w 512"/>
              <a:gd name="T99" fmla="*/ 373 h 512"/>
              <a:gd name="T100" fmla="*/ 393 w 512"/>
              <a:gd name="T101" fmla="*/ 368 h 512"/>
              <a:gd name="T102" fmla="*/ 389 w 512"/>
              <a:gd name="T103" fmla="*/ 35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307" y="137"/>
                </a:moveTo>
                <a:cubicBezTo>
                  <a:pt x="307" y="137"/>
                  <a:pt x="307" y="137"/>
                  <a:pt x="308" y="137"/>
                </a:cubicBezTo>
                <a:cubicBezTo>
                  <a:pt x="302" y="145"/>
                  <a:pt x="295" y="148"/>
                  <a:pt x="292" y="149"/>
                </a:cubicBezTo>
                <a:cubicBezTo>
                  <a:pt x="285" y="141"/>
                  <a:pt x="285" y="141"/>
                  <a:pt x="285" y="141"/>
                </a:cubicBezTo>
                <a:cubicBezTo>
                  <a:pt x="280" y="137"/>
                  <a:pt x="274" y="137"/>
                  <a:pt x="269" y="141"/>
                </a:cubicBezTo>
                <a:cubicBezTo>
                  <a:pt x="261" y="150"/>
                  <a:pt x="261" y="150"/>
                  <a:pt x="261" y="150"/>
                </a:cubicBezTo>
                <a:cubicBezTo>
                  <a:pt x="252" y="153"/>
                  <a:pt x="221" y="160"/>
                  <a:pt x="204" y="137"/>
                </a:cubicBezTo>
                <a:cubicBezTo>
                  <a:pt x="204" y="137"/>
                  <a:pt x="204" y="137"/>
                  <a:pt x="204" y="137"/>
                </a:cubicBezTo>
                <a:cubicBezTo>
                  <a:pt x="214" y="124"/>
                  <a:pt x="231" y="117"/>
                  <a:pt x="256" y="117"/>
                </a:cubicBezTo>
                <a:cubicBezTo>
                  <a:pt x="280" y="117"/>
                  <a:pt x="297" y="124"/>
                  <a:pt x="307" y="13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9" y="353"/>
                </a:moveTo>
                <a:cubicBezTo>
                  <a:pt x="375" y="345"/>
                  <a:pt x="358" y="344"/>
                  <a:pt x="343" y="342"/>
                </a:cubicBezTo>
                <a:cubicBezTo>
                  <a:pt x="333" y="341"/>
                  <a:pt x="323" y="340"/>
                  <a:pt x="319" y="338"/>
                </a:cubicBezTo>
                <a:cubicBezTo>
                  <a:pt x="308" y="332"/>
                  <a:pt x="299" y="297"/>
                  <a:pt x="302" y="290"/>
                </a:cubicBezTo>
                <a:cubicBezTo>
                  <a:pt x="315" y="272"/>
                  <a:pt x="327" y="240"/>
                  <a:pt x="332" y="222"/>
                </a:cubicBezTo>
                <a:cubicBezTo>
                  <a:pt x="338" y="198"/>
                  <a:pt x="347" y="154"/>
                  <a:pt x="324" y="124"/>
                </a:cubicBezTo>
                <a:cubicBezTo>
                  <a:pt x="310" y="105"/>
                  <a:pt x="287" y="96"/>
                  <a:pt x="256" y="96"/>
                </a:cubicBezTo>
                <a:cubicBezTo>
                  <a:pt x="224" y="96"/>
                  <a:pt x="201" y="105"/>
                  <a:pt x="187" y="124"/>
                </a:cubicBezTo>
                <a:cubicBezTo>
                  <a:pt x="165" y="154"/>
                  <a:pt x="173" y="198"/>
                  <a:pt x="180" y="222"/>
                </a:cubicBezTo>
                <a:cubicBezTo>
                  <a:pt x="185" y="240"/>
                  <a:pt x="197" y="272"/>
                  <a:pt x="209" y="289"/>
                </a:cubicBezTo>
                <a:cubicBezTo>
                  <a:pt x="212" y="297"/>
                  <a:pt x="203" y="332"/>
                  <a:pt x="192" y="338"/>
                </a:cubicBezTo>
                <a:cubicBezTo>
                  <a:pt x="188" y="340"/>
                  <a:pt x="178" y="341"/>
                  <a:pt x="168" y="342"/>
                </a:cubicBezTo>
                <a:cubicBezTo>
                  <a:pt x="153" y="344"/>
                  <a:pt x="136" y="345"/>
                  <a:pt x="122" y="353"/>
                </a:cubicBezTo>
                <a:cubicBezTo>
                  <a:pt x="117" y="356"/>
                  <a:pt x="115" y="362"/>
                  <a:pt x="118" y="368"/>
                </a:cubicBezTo>
                <a:cubicBezTo>
                  <a:pt x="121" y="373"/>
                  <a:pt x="128" y="375"/>
                  <a:pt x="133" y="372"/>
                </a:cubicBezTo>
                <a:cubicBezTo>
                  <a:pt x="143" y="366"/>
                  <a:pt x="158" y="365"/>
                  <a:pt x="171" y="363"/>
                </a:cubicBezTo>
                <a:cubicBezTo>
                  <a:pt x="183" y="362"/>
                  <a:pt x="194" y="361"/>
                  <a:pt x="202" y="357"/>
                </a:cubicBezTo>
                <a:cubicBezTo>
                  <a:pt x="218" y="348"/>
                  <a:pt x="225" y="325"/>
                  <a:pt x="228" y="315"/>
                </a:cubicBezTo>
                <a:cubicBezTo>
                  <a:pt x="230" y="306"/>
                  <a:pt x="233" y="288"/>
                  <a:pt x="227" y="278"/>
                </a:cubicBezTo>
                <a:cubicBezTo>
                  <a:pt x="216" y="263"/>
                  <a:pt x="205" y="233"/>
                  <a:pt x="200" y="216"/>
                </a:cubicBezTo>
                <a:cubicBezTo>
                  <a:pt x="197" y="205"/>
                  <a:pt x="191" y="180"/>
                  <a:pt x="195" y="159"/>
                </a:cubicBezTo>
                <a:cubicBezTo>
                  <a:pt x="209" y="171"/>
                  <a:pt x="225" y="175"/>
                  <a:pt x="240" y="175"/>
                </a:cubicBezTo>
                <a:cubicBezTo>
                  <a:pt x="252" y="175"/>
                  <a:pt x="263" y="172"/>
                  <a:pt x="270" y="170"/>
                </a:cubicBezTo>
                <a:cubicBezTo>
                  <a:pt x="271" y="169"/>
                  <a:pt x="273" y="168"/>
                  <a:pt x="274" y="167"/>
                </a:cubicBezTo>
                <a:cubicBezTo>
                  <a:pt x="277" y="164"/>
                  <a:pt x="277" y="164"/>
                  <a:pt x="277" y="164"/>
                </a:cubicBezTo>
                <a:cubicBezTo>
                  <a:pt x="280" y="167"/>
                  <a:pt x="280" y="167"/>
                  <a:pt x="280" y="167"/>
                </a:cubicBezTo>
                <a:cubicBezTo>
                  <a:pt x="282" y="169"/>
                  <a:pt x="284" y="170"/>
                  <a:pt x="287" y="170"/>
                </a:cubicBezTo>
                <a:cubicBezTo>
                  <a:pt x="288" y="170"/>
                  <a:pt x="302" y="171"/>
                  <a:pt x="316" y="159"/>
                </a:cubicBezTo>
                <a:cubicBezTo>
                  <a:pt x="320" y="180"/>
                  <a:pt x="314" y="205"/>
                  <a:pt x="311" y="216"/>
                </a:cubicBezTo>
                <a:cubicBezTo>
                  <a:pt x="306" y="233"/>
                  <a:pt x="295" y="263"/>
                  <a:pt x="285" y="278"/>
                </a:cubicBezTo>
                <a:cubicBezTo>
                  <a:pt x="278" y="288"/>
                  <a:pt x="281" y="306"/>
                  <a:pt x="284" y="315"/>
                </a:cubicBezTo>
                <a:cubicBezTo>
                  <a:pt x="286" y="325"/>
                  <a:pt x="293" y="348"/>
                  <a:pt x="309" y="357"/>
                </a:cubicBezTo>
                <a:cubicBezTo>
                  <a:pt x="317" y="361"/>
                  <a:pt x="328" y="362"/>
                  <a:pt x="341" y="363"/>
                </a:cubicBezTo>
                <a:cubicBezTo>
                  <a:pt x="354" y="365"/>
                  <a:pt x="369" y="366"/>
                  <a:pt x="378" y="372"/>
                </a:cubicBezTo>
                <a:cubicBezTo>
                  <a:pt x="380" y="373"/>
                  <a:pt x="382" y="373"/>
                  <a:pt x="384" y="373"/>
                </a:cubicBezTo>
                <a:cubicBezTo>
                  <a:pt x="387" y="373"/>
                  <a:pt x="391" y="371"/>
                  <a:pt x="393" y="368"/>
                </a:cubicBezTo>
                <a:cubicBezTo>
                  <a:pt x="396" y="362"/>
                  <a:pt x="394" y="356"/>
                  <a:pt x="389" y="3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70" name="Group 750">
            <a:extLst>
              <a:ext uri="{FF2B5EF4-FFF2-40B4-BE49-F238E27FC236}">
                <a16:creationId xmlns:a16="http://schemas.microsoft.com/office/drawing/2014/main" id="{1E775AB1-D97B-4C49-8870-1B16F0F6D6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9566" y="2417503"/>
            <a:ext cx="666097" cy="666097"/>
            <a:chOff x="6961" y="3142"/>
            <a:chExt cx="340" cy="340"/>
          </a:xfrm>
          <a:solidFill>
            <a:schemeClr val="accent2"/>
          </a:solidFill>
        </p:grpSpPr>
        <p:sp>
          <p:nvSpPr>
            <p:cNvPr id="71" name="Freeform 751">
              <a:extLst>
                <a:ext uri="{FF2B5EF4-FFF2-40B4-BE49-F238E27FC236}">
                  <a16:creationId xmlns:a16="http://schemas.microsoft.com/office/drawing/2014/main" id="{EF00DB95-A684-4C5F-A378-B3424BC35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1" y="314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43B02A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752">
              <a:extLst>
                <a:ext uri="{FF2B5EF4-FFF2-40B4-BE49-F238E27FC236}">
                  <a16:creationId xmlns:a16="http://schemas.microsoft.com/office/drawing/2014/main" id="{0EEB1BEB-40D8-4E04-BEE4-5FFF2F2AF7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7" y="3206"/>
              <a:ext cx="187" cy="185"/>
            </a:xfrm>
            <a:custGeom>
              <a:avLst/>
              <a:gdLst>
                <a:gd name="T0" fmla="*/ 274 w 281"/>
                <a:gd name="T1" fmla="*/ 257 h 279"/>
                <a:gd name="T2" fmla="*/ 228 w 281"/>
                <a:gd name="T3" fmla="*/ 246 h 279"/>
                <a:gd name="T4" fmla="*/ 204 w 281"/>
                <a:gd name="T5" fmla="*/ 242 h 279"/>
                <a:gd name="T6" fmla="*/ 187 w 281"/>
                <a:gd name="T7" fmla="*/ 194 h 279"/>
                <a:gd name="T8" fmla="*/ 217 w 281"/>
                <a:gd name="T9" fmla="*/ 126 h 279"/>
                <a:gd name="T10" fmla="*/ 209 w 281"/>
                <a:gd name="T11" fmla="*/ 28 h 279"/>
                <a:gd name="T12" fmla="*/ 141 w 281"/>
                <a:gd name="T13" fmla="*/ 0 h 279"/>
                <a:gd name="T14" fmla="*/ 72 w 281"/>
                <a:gd name="T15" fmla="*/ 28 h 279"/>
                <a:gd name="T16" fmla="*/ 65 w 281"/>
                <a:gd name="T17" fmla="*/ 126 h 279"/>
                <a:gd name="T18" fmla="*/ 94 w 281"/>
                <a:gd name="T19" fmla="*/ 193 h 279"/>
                <a:gd name="T20" fmla="*/ 77 w 281"/>
                <a:gd name="T21" fmla="*/ 242 h 279"/>
                <a:gd name="T22" fmla="*/ 53 w 281"/>
                <a:gd name="T23" fmla="*/ 246 h 279"/>
                <a:gd name="T24" fmla="*/ 7 w 281"/>
                <a:gd name="T25" fmla="*/ 257 h 279"/>
                <a:gd name="T26" fmla="*/ 3 w 281"/>
                <a:gd name="T27" fmla="*/ 272 h 279"/>
                <a:gd name="T28" fmla="*/ 18 w 281"/>
                <a:gd name="T29" fmla="*/ 276 h 279"/>
                <a:gd name="T30" fmla="*/ 56 w 281"/>
                <a:gd name="T31" fmla="*/ 267 h 279"/>
                <a:gd name="T32" fmla="*/ 87 w 281"/>
                <a:gd name="T33" fmla="*/ 261 h 279"/>
                <a:gd name="T34" fmla="*/ 113 w 281"/>
                <a:gd name="T35" fmla="*/ 219 h 279"/>
                <a:gd name="T36" fmla="*/ 112 w 281"/>
                <a:gd name="T37" fmla="*/ 182 h 279"/>
                <a:gd name="T38" fmla="*/ 85 w 281"/>
                <a:gd name="T39" fmla="*/ 120 h 279"/>
                <a:gd name="T40" fmla="*/ 80 w 281"/>
                <a:gd name="T41" fmla="*/ 63 h 279"/>
                <a:gd name="T42" fmla="*/ 125 w 281"/>
                <a:gd name="T43" fmla="*/ 79 h 279"/>
                <a:gd name="T44" fmla="*/ 155 w 281"/>
                <a:gd name="T45" fmla="*/ 74 h 279"/>
                <a:gd name="T46" fmla="*/ 159 w 281"/>
                <a:gd name="T47" fmla="*/ 71 h 279"/>
                <a:gd name="T48" fmla="*/ 162 w 281"/>
                <a:gd name="T49" fmla="*/ 68 h 279"/>
                <a:gd name="T50" fmla="*/ 165 w 281"/>
                <a:gd name="T51" fmla="*/ 71 h 279"/>
                <a:gd name="T52" fmla="*/ 172 w 281"/>
                <a:gd name="T53" fmla="*/ 74 h 279"/>
                <a:gd name="T54" fmla="*/ 201 w 281"/>
                <a:gd name="T55" fmla="*/ 63 h 279"/>
                <a:gd name="T56" fmla="*/ 196 w 281"/>
                <a:gd name="T57" fmla="*/ 120 h 279"/>
                <a:gd name="T58" fmla="*/ 170 w 281"/>
                <a:gd name="T59" fmla="*/ 182 h 279"/>
                <a:gd name="T60" fmla="*/ 169 w 281"/>
                <a:gd name="T61" fmla="*/ 219 h 279"/>
                <a:gd name="T62" fmla="*/ 194 w 281"/>
                <a:gd name="T63" fmla="*/ 261 h 279"/>
                <a:gd name="T64" fmla="*/ 226 w 281"/>
                <a:gd name="T65" fmla="*/ 267 h 279"/>
                <a:gd name="T66" fmla="*/ 263 w 281"/>
                <a:gd name="T67" fmla="*/ 276 h 279"/>
                <a:gd name="T68" fmla="*/ 269 w 281"/>
                <a:gd name="T69" fmla="*/ 277 h 279"/>
                <a:gd name="T70" fmla="*/ 278 w 281"/>
                <a:gd name="T71" fmla="*/ 272 h 279"/>
                <a:gd name="T72" fmla="*/ 274 w 281"/>
                <a:gd name="T73" fmla="*/ 257 h 279"/>
                <a:gd name="T74" fmla="*/ 177 w 281"/>
                <a:gd name="T75" fmla="*/ 53 h 279"/>
                <a:gd name="T76" fmla="*/ 170 w 281"/>
                <a:gd name="T77" fmla="*/ 45 h 279"/>
                <a:gd name="T78" fmla="*/ 154 w 281"/>
                <a:gd name="T79" fmla="*/ 45 h 279"/>
                <a:gd name="T80" fmla="*/ 146 w 281"/>
                <a:gd name="T81" fmla="*/ 54 h 279"/>
                <a:gd name="T82" fmla="*/ 89 w 281"/>
                <a:gd name="T83" fmla="*/ 41 h 279"/>
                <a:gd name="T84" fmla="*/ 89 w 281"/>
                <a:gd name="T85" fmla="*/ 41 h 279"/>
                <a:gd name="T86" fmla="*/ 141 w 281"/>
                <a:gd name="T87" fmla="*/ 21 h 279"/>
                <a:gd name="T88" fmla="*/ 192 w 281"/>
                <a:gd name="T89" fmla="*/ 41 h 279"/>
                <a:gd name="T90" fmla="*/ 193 w 281"/>
                <a:gd name="T91" fmla="*/ 41 h 279"/>
                <a:gd name="T92" fmla="*/ 177 w 281"/>
                <a:gd name="T93" fmla="*/ 5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1" h="279">
                  <a:moveTo>
                    <a:pt x="274" y="257"/>
                  </a:moveTo>
                  <a:cubicBezTo>
                    <a:pt x="260" y="249"/>
                    <a:pt x="243" y="248"/>
                    <a:pt x="228" y="246"/>
                  </a:cubicBezTo>
                  <a:cubicBezTo>
                    <a:pt x="218" y="245"/>
                    <a:pt x="208" y="244"/>
                    <a:pt x="204" y="242"/>
                  </a:cubicBezTo>
                  <a:cubicBezTo>
                    <a:pt x="193" y="236"/>
                    <a:pt x="184" y="201"/>
                    <a:pt x="187" y="194"/>
                  </a:cubicBezTo>
                  <a:cubicBezTo>
                    <a:pt x="200" y="176"/>
                    <a:pt x="212" y="144"/>
                    <a:pt x="217" y="126"/>
                  </a:cubicBezTo>
                  <a:cubicBezTo>
                    <a:pt x="223" y="102"/>
                    <a:pt x="232" y="58"/>
                    <a:pt x="209" y="28"/>
                  </a:cubicBezTo>
                  <a:cubicBezTo>
                    <a:pt x="195" y="9"/>
                    <a:pt x="172" y="0"/>
                    <a:pt x="141" y="0"/>
                  </a:cubicBezTo>
                  <a:cubicBezTo>
                    <a:pt x="109" y="0"/>
                    <a:pt x="86" y="9"/>
                    <a:pt x="72" y="28"/>
                  </a:cubicBezTo>
                  <a:cubicBezTo>
                    <a:pt x="50" y="58"/>
                    <a:pt x="58" y="102"/>
                    <a:pt x="65" y="126"/>
                  </a:cubicBezTo>
                  <a:cubicBezTo>
                    <a:pt x="70" y="144"/>
                    <a:pt x="82" y="176"/>
                    <a:pt x="94" y="193"/>
                  </a:cubicBezTo>
                  <a:cubicBezTo>
                    <a:pt x="97" y="201"/>
                    <a:pt x="88" y="236"/>
                    <a:pt x="77" y="242"/>
                  </a:cubicBezTo>
                  <a:cubicBezTo>
                    <a:pt x="73" y="244"/>
                    <a:pt x="63" y="245"/>
                    <a:pt x="53" y="246"/>
                  </a:cubicBezTo>
                  <a:cubicBezTo>
                    <a:pt x="38" y="248"/>
                    <a:pt x="21" y="249"/>
                    <a:pt x="7" y="257"/>
                  </a:cubicBezTo>
                  <a:cubicBezTo>
                    <a:pt x="2" y="260"/>
                    <a:pt x="0" y="266"/>
                    <a:pt x="3" y="272"/>
                  </a:cubicBezTo>
                  <a:cubicBezTo>
                    <a:pt x="6" y="277"/>
                    <a:pt x="13" y="279"/>
                    <a:pt x="18" y="276"/>
                  </a:cubicBezTo>
                  <a:cubicBezTo>
                    <a:pt x="28" y="270"/>
                    <a:pt x="43" y="269"/>
                    <a:pt x="56" y="267"/>
                  </a:cubicBezTo>
                  <a:cubicBezTo>
                    <a:pt x="68" y="266"/>
                    <a:pt x="79" y="265"/>
                    <a:pt x="87" y="261"/>
                  </a:cubicBezTo>
                  <a:cubicBezTo>
                    <a:pt x="103" y="252"/>
                    <a:pt x="110" y="229"/>
                    <a:pt x="113" y="219"/>
                  </a:cubicBezTo>
                  <a:cubicBezTo>
                    <a:pt x="115" y="210"/>
                    <a:pt x="118" y="192"/>
                    <a:pt x="112" y="182"/>
                  </a:cubicBezTo>
                  <a:cubicBezTo>
                    <a:pt x="101" y="167"/>
                    <a:pt x="90" y="137"/>
                    <a:pt x="85" y="120"/>
                  </a:cubicBezTo>
                  <a:cubicBezTo>
                    <a:pt x="82" y="109"/>
                    <a:pt x="76" y="84"/>
                    <a:pt x="80" y="63"/>
                  </a:cubicBezTo>
                  <a:cubicBezTo>
                    <a:pt x="94" y="75"/>
                    <a:pt x="110" y="79"/>
                    <a:pt x="125" y="79"/>
                  </a:cubicBezTo>
                  <a:cubicBezTo>
                    <a:pt x="137" y="79"/>
                    <a:pt x="148" y="76"/>
                    <a:pt x="155" y="74"/>
                  </a:cubicBezTo>
                  <a:cubicBezTo>
                    <a:pt x="156" y="73"/>
                    <a:pt x="158" y="72"/>
                    <a:pt x="159" y="71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7" y="73"/>
                    <a:pt x="169" y="74"/>
                    <a:pt x="172" y="74"/>
                  </a:cubicBezTo>
                  <a:cubicBezTo>
                    <a:pt x="173" y="74"/>
                    <a:pt x="187" y="75"/>
                    <a:pt x="201" y="63"/>
                  </a:cubicBezTo>
                  <a:cubicBezTo>
                    <a:pt x="205" y="84"/>
                    <a:pt x="199" y="109"/>
                    <a:pt x="196" y="120"/>
                  </a:cubicBezTo>
                  <a:cubicBezTo>
                    <a:pt x="191" y="137"/>
                    <a:pt x="180" y="167"/>
                    <a:pt x="170" y="182"/>
                  </a:cubicBezTo>
                  <a:cubicBezTo>
                    <a:pt x="163" y="192"/>
                    <a:pt x="166" y="210"/>
                    <a:pt x="169" y="219"/>
                  </a:cubicBezTo>
                  <a:cubicBezTo>
                    <a:pt x="171" y="229"/>
                    <a:pt x="178" y="252"/>
                    <a:pt x="194" y="261"/>
                  </a:cubicBezTo>
                  <a:cubicBezTo>
                    <a:pt x="202" y="265"/>
                    <a:pt x="213" y="266"/>
                    <a:pt x="226" y="267"/>
                  </a:cubicBezTo>
                  <a:cubicBezTo>
                    <a:pt x="239" y="269"/>
                    <a:pt x="254" y="270"/>
                    <a:pt x="263" y="276"/>
                  </a:cubicBezTo>
                  <a:cubicBezTo>
                    <a:pt x="265" y="277"/>
                    <a:pt x="267" y="277"/>
                    <a:pt x="269" y="277"/>
                  </a:cubicBezTo>
                  <a:cubicBezTo>
                    <a:pt x="272" y="277"/>
                    <a:pt x="276" y="275"/>
                    <a:pt x="278" y="272"/>
                  </a:cubicBezTo>
                  <a:cubicBezTo>
                    <a:pt x="281" y="266"/>
                    <a:pt x="279" y="260"/>
                    <a:pt x="274" y="257"/>
                  </a:cubicBezTo>
                  <a:close/>
                  <a:moveTo>
                    <a:pt x="177" y="53"/>
                  </a:moveTo>
                  <a:cubicBezTo>
                    <a:pt x="170" y="45"/>
                    <a:pt x="170" y="45"/>
                    <a:pt x="170" y="45"/>
                  </a:cubicBezTo>
                  <a:cubicBezTo>
                    <a:pt x="165" y="41"/>
                    <a:pt x="159" y="41"/>
                    <a:pt x="154" y="45"/>
                  </a:cubicBezTo>
                  <a:cubicBezTo>
                    <a:pt x="146" y="54"/>
                    <a:pt x="146" y="54"/>
                    <a:pt x="146" y="54"/>
                  </a:cubicBezTo>
                  <a:cubicBezTo>
                    <a:pt x="137" y="57"/>
                    <a:pt x="106" y="64"/>
                    <a:pt x="89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9" y="28"/>
                    <a:pt x="116" y="21"/>
                    <a:pt x="141" y="21"/>
                  </a:cubicBezTo>
                  <a:cubicBezTo>
                    <a:pt x="165" y="21"/>
                    <a:pt x="182" y="28"/>
                    <a:pt x="192" y="41"/>
                  </a:cubicBezTo>
                  <a:cubicBezTo>
                    <a:pt x="192" y="41"/>
                    <a:pt x="192" y="41"/>
                    <a:pt x="193" y="41"/>
                  </a:cubicBezTo>
                  <a:cubicBezTo>
                    <a:pt x="187" y="49"/>
                    <a:pt x="180" y="52"/>
                    <a:pt x="177" y="53"/>
                  </a:cubicBezTo>
                  <a:close/>
                </a:path>
              </a:pathLst>
            </a:custGeom>
            <a:grpFill/>
            <a:ln>
              <a:solidFill>
                <a:srgbClr val="43B02A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3" name="Group 750">
            <a:extLst>
              <a:ext uri="{FF2B5EF4-FFF2-40B4-BE49-F238E27FC236}">
                <a16:creationId xmlns:a16="http://schemas.microsoft.com/office/drawing/2014/main" id="{D40DCA8F-59CF-4430-A4D9-FDFF1C1853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53671" y="2430352"/>
            <a:ext cx="666097" cy="666097"/>
            <a:chOff x="6961" y="3142"/>
            <a:chExt cx="340" cy="340"/>
          </a:xfrm>
          <a:solidFill>
            <a:schemeClr val="bg1"/>
          </a:solidFill>
        </p:grpSpPr>
        <p:sp>
          <p:nvSpPr>
            <p:cNvPr id="74" name="Freeform 751">
              <a:extLst>
                <a:ext uri="{FF2B5EF4-FFF2-40B4-BE49-F238E27FC236}">
                  <a16:creationId xmlns:a16="http://schemas.microsoft.com/office/drawing/2014/main" id="{C69A2DD7-7023-4908-B9C3-C67BA9A051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1" y="314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Freeform 752">
              <a:extLst>
                <a:ext uri="{FF2B5EF4-FFF2-40B4-BE49-F238E27FC236}">
                  <a16:creationId xmlns:a16="http://schemas.microsoft.com/office/drawing/2014/main" id="{D0D34F82-C832-4E57-AD2B-2AE5CC40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7" y="3206"/>
              <a:ext cx="187" cy="185"/>
            </a:xfrm>
            <a:custGeom>
              <a:avLst/>
              <a:gdLst>
                <a:gd name="T0" fmla="*/ 274 w 281"/>
                <a:gd name="T1" fmla="*/ 257 h 279"/>
                <a:gd name="T2" fmla="*/ 228 w 281"/>
                <a:gd name="T3" fmla="*/ 246 h 279"/>
                <a:gd name="T4" fmla="*/ 204 w 281"/>
                <a:gd name="T5" fmla="*/ 242 h 279"/>
                <a:gd name="T6" fmla="*/ 187 w 281"/>
                <a:gd name="T7" fmla="*/ 194 h 279"/>
                <a:gd name="T8" fmla="*/ 217 w 281"/>
                <a:gd name="T9" fmla="*/ 126 h 279"/>
                <a:gd name="T10" fmla="*/ 209 w 281"/>
                <a:gd name="T11" fmla="*/ 28 h 279"/>
                <a:gd name="T12" fmla="*/ 141 w 281"/>
                <a:gd name="T13" fmla="*/ 0 h 279"/>
                <a:gd name="T14" fmla="*/ 72 w 281"/>
                <a:gd name="T15" fmla="*/ 28 h 279"/>
                <a:gd name="T16" fmla="*/ 65 w 281"/>
                <a:gd name="T17" fmla="*/ 126 h 279"/>
                <a:gd name="T18" fmla="*/ 94 w 281"/>
                <a:gd name="T19" fmla="*/ 193 h 279"/>
                <a:gd name="T20" fmla="*/ 77 w 281"/>
                <a:gd name="T21" fmla="*/ 242 h 279"/>
                <a:gd name="T22" fmla="*/ 53 w 281"/>
                <a:gd name="T23" fmla="*/ 246 h 279"/>
                <a:gd name="T24" fmla="*/ 7 w 281"/>
                <a:gd name="T25" fmla="*/ 257 h 279"/>
                <a:gd name="T26" fmla="*/ 3 w 281"/>
                <a:gd name="T27" fmla="*/ 272 h 279"/>
                <a:gd name="T28" fmla="*/ 18 w 281"/>
                <a:gd name="T29" fmla="*/ 276 h 279"/>
                <a:gd name="T30" fmla="*/ 56 w 281"/>
                <a:gd name="T31" fmla="*/ 267 h 279"/>
                <a:gd name="T32" fmla="*/ 87 w 281"/>
                <a:gd name="T33" fmla="*/ 261 h 279"/>
                <a:gd name="T34" fmla="*/ 113 w 281"/>
                <a:gd name="T35" fmla="*/ 219 h 279"/>
                <a:gd name="T36" fmla="*/ 112 w 281"/>
                <a:gd name="T37" fmla="*/ 182 h 279"/>
                <a:gd name="T38" fmla="*/ 85 w 281"/>
                <a:gd name="T39" fmla="*/ 120 h 279"/>
                <a:gd name="T40" fmla="*/ 80 w 281"/>
                <a:gd name="T41" fmla="*/ 63 h 279"/>
                <a:gd name="T42" fmla="*/ 125 w 281"/>
                <a:gd name="T43" fmla="*/ 79 h 279"/>
                <a:gd name="T44" fmla="*/ 155 w 281"/>
                <a:gd name="T45" fmla="*/ 74 h 279"/>
                <a:gd name="T46" fmla="*/ 159 w 281"/>
                <a:gd name="T47" fmla="*/ 71 h 279"/>
                <a:gd name="T48" fmla="*/ 162 w 281"/>
                <a:gd name="T49" fmla="*/ 68 h 279"/>
                <a:gd name="T50" fmla="*/ 165 w 281"/>
                <a:gd name="T51" fmla="*/ 71 h 279"/>
                <a:gd name="T52" fmla="*/ 172 w 281"/>
                <a:gd name="T53" fmla="*/ 74 h 279"/>
                <a:gd name="T54" fmla="*/ 201 w 281"/>
                <a:gd name="T55" fmla="*/ 63 h 279"/>
                <a:gd name="T56" fmla="*/ 196 w 281"/>
                <a:gd name="T57" fmla="*/ 120 h 279"/>
                <a:gd name="T58" fmla="*/ 170 w 281"/>
                <a:gd name="T59" fmla="*/ 182 h 279"/>
                <a:gd name="T60" fmla="*/ 169 w 281"/>
                <a:gd name="T61" fmla="*/ 219 h 279"/>
                <a:gd name="T62" fmla="*/ 194 w 281"/>
                <a:gd name="T63" fmla="*/ 261 h 279"/>
                <a:gd name="T64" fmla="*/ 226 w 281"/>
                <a:gd name="T65" fmla="*/ 267 h 279"/>
                <a:gd name="T66" fmla="*/ 263 w 281"/>
                <a:gd name="T67" fmla="*/ 276 h 279"/>
                <a:gd name="T68" fmla="*/ 269 w 281"/>
                <a:gd name="T69" fmla="*/ 277 h 279"/>
                <a:gd name="T70" fmla="*/ 278 w 281"/>
                <a:gd name="T71" fmla="*/ 272 h 279"/>
                <a:gd name="T72" fmla="*/ 274 w 281"/>
                <a:gd name="T73" fmla="*/ 257 h 279"/>
                <a:gd name="T74" fmla="*/ 177 w 281"/>
                <a:gd name="T75" fmla="*/ 53 h 279"/>
                <a:gd name="T76" fmla="*/ 170 w 281"/>
                <a:gd name="T77" fmla="*/ 45 h 279"/>
                <a:gd name="T78" fmla="*/ 154 w 281"/>
                <a:gd name="T79" fmla="*/ 45 h 279"/>
                <a:gd name="T80" fmla="*/ 146 w 281"/>
                <a:gd name="T81" fmla="*/ 54 h 279"/>
                <a:gd name="T82" fmla="*/ 89 w 281"/>
                <a:gd name="T83" fmla="*/ 41 h 279"/>
                <a:gd name="T84" fmla="*/ 89 w 281"/>
                <a:gd name="T85" fmla="*/ 41 h 279"/>
                <a:gd name="T86" fmla="*/ 141 w 281"/>
                <a:gd name="T87" fmla="*/ 21 h 279"/>
                <a:gd name="T88" fmla="*/ 192 w 281"/>
                <a:gd name="T89" fmla="*/ 41 h 279"/>
                <a:gd name="T90" fmla="*/ 193 w 281"/>
                <a:gd name="T91" fmla="*/ 41 h 279"/>
                <a:gd name="T92" fmla="*/ 177 w 281"/>
                <a:gd name="T93" fmla="*/ 5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1" h="279">
                  <a:moveTo>
                    <a:pt x="274" y="257"/>
                  </a:moveTo>
                  <a:cubicBezTo>
                    <a:pt x="260" y="249"/>
                    <a:pt x="243" y="248"/>
                    <a:pt x="228" y="246"/>
                  </a:cubicBezTo>
                  <a:cubicBezTo>
                    <a:pt x="218" y="245"/>
                    <a:pt x="208" y="244"/>
                    <a:pt x="204" y="242"/>
                  </a:cubicBezTo>
                  <a:cubicBezTo>
                    <a:pt x="193" y="236"/>
                    <a:pt x="184" y="201"/>
                    <a:pt x="187" y="194"/>
                  </a:cubicBezTo>
                  <a:cubicBezTo>
                    <a:pt x="200" y="176"/>
                    <a:pt x="212" y="144"/>
                    <a:pt x="217" y="126"/>
                  </a:cubicBezTo>
                  <a:cubicBezTo>
                    <a:pt x="223" y="102"/>
                    <a:pt x="232" y="58"/>
                    <a:pt x="209" y="28"/>
                  </a:cubicBezTo>
                  <a:cubicBezTo>
                    <a:pt x="195" y="9"/>
                    <a:pt x="172" y="0"/>
                    <a:pt x="141" y="0"/>
                  </a:cubicBezTo>
                  <a:cubicBezTo>
                    <a:pt x="109" y="0"/>
                    <a:pt x="86" y="9"/>
                    <a:pt x="72" y="28"/>
                  </a:cubicBezTo>
                  <a:cubicBezTo>
                    <a:pt x="50" y="58"/>
                    <a:pt x="58" y="102"/>
                    <a:pt x="65" y="126"/>
                  </a:cubicBezTo>
                  <a:cubicBezTo>
                    <a:pt x="70" y="144"/>
                    <a:pt x="82" y="176"/>
                    <a:pt x="94" y="193"/>
                  </a:cubicBezTo>
                  <a:cubicBezTo>
                    <a:pt x="97" y="201"/>
                    <a:pt x="88" y="236"/>
                    <a:pt x="77" y="242"/>
                  </a:cubicBezTo>
                  <a:cubicBezTo>
                    <a:pt x="73" y="244"/>
                    <a:pt x="63" y="245"/>
                    <a:pt x="53" y="246"/>
                  </a:cubicBezTo>
                  <a:cubicBezTo>
                    <a:pt x="38" y="248"/>
                    <a:pt x="21" y="249"/>
                    <a:pt x="7" y="257"/>
                  </a:cubicBezTo>
                  <a:cubicBezTo>
                    <a:pt x="2" y="260"/>
                    <a:pt x="0" y="266"/>
                    <a:pt x="3" y="272"/>
                  </a:cubicBezTo>
                  <a:cubicBezTo>
                    <a:pt x="6" y="277"/>
                    <a:pt x="13" y="279"/>
                    <a:pt x="18" y="276"/>
                  </a:cubicBezTo>
                  <a:cubicBezTo>
                    <a:pt x="28" y="270"/>
                    <a:pt x="43" y="269"/>
                    <a:pt x="56" y="267"/>
                  </a:cubicBezTo>
                  <a:cubicBezTo>
                    <a:pt x="68" y="266"/>
                    <a:pt x="79" y="265"/>
                    <a:pt x="87" y="261"/>
                  </a:cubicBezTo>
                  <a:cubicBezTo>
                    <a:pt x="103" y="252"/>
                    <a:pt x="110" y="229"/>
                    <a:pt x="113" y="219"/>
                  </a:cubicBezTo>
                  <a:cubicBezTo>
                    <a:pt x="115" y="210"/>
                    <a:pt x="118" y="192"/>
                    <a:pt x="112" y="182"/>
                  </a:cubicBezTo>
                  <a:cubicBezTo>
                    <a:pt x="101" y="167"/>
                    <a:pt x="90" y="137"/>
                    <a:pt x="85" y="120"/>
                  </a:cubicBezTo>
                  <a:cubicBezTo>
                    <a:pt x="82" y="109"/>
                    <a:pt x="76" y="84"/>
                    <a:pt x="80" y="63"/>
                  </a:cubicBezTo>
                  <a:cubicBezTo>
                    <a:pt x="94" y="75"/>
                    <a:pt x="110" y="79"/>
                    <a:pt x="125" y="79"/>
                  </a:cubicBezTo>
                  <a:cubicBezTo>
                    <a:pt x="137" y="79"/>
                    <a:pt x="148" y="76"/>
                    <a:pt x="155" y="74"/>
                  </a:cubicBezTo>
                  <a:cubicBezTo>
                    <a:pt x="156" y="73"/>
                    <a:pt x="158" y="72"/>
                    <a:pt x="159" y="71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7" y="73"/>
                    <a:pt x="169" y="74"/>
                    <a:pt x="172" y="74"/>
                  </a:cubicBezTo>
                  <a:cubicBezTo>
                    <a:pt x="173" y="74"/>
                    <a:pt x="187" y="75"/>
                    <a:pt x="201" y="63"/>
                  </a:cubicBezTo>
                  <a:cubicBezTo>
                    <a:pt x="205" y="84"/>
                    <a:pt x="199" y="109"/>
                    <a:pt x="196" y="120"/>
                  </a:cubicBezTo>
                  <a:cubicBezTo>
                    <a:pt x="191" y="137"/>
                    <a:pt x="180" y="167"/>
                    <a:pt x="170" y="182"/>
                  </a:cubicBezTo>
                  <a:cubicBezTo>
                    <a:pt x="163" y="192"/>
                    <a:pt x="166" y="210"/>
                    <a:pt x="169" y="219"/>
                  </a:cubicBezTo>
                  <a:cubicBezTo>
                    <a:pt x="171" y="229"/>
                    <a:pt x="178" y="252"/>
                    <a:pt x="194" y="261"/>
                  </a:cubicBezTo>
                  <a:cubicBezTo>
                    <a:pt x="202" y="265"/>
                    <a:pt x="213" y="266"/>
                    <a:pt x="226" y="267"/>
                  </a:cubicBezTo>
                  <a:cubicBezTo>
                    <a:pt x="239" y="269"/>
                    <a:pt x="254" y="270"/>
                    <a:pt x="263" y="276"/>
                  </a:cubicBezTo>
                  <a:cubicBezTo>
                    <a:pt x="265" y="277"/>
                    <a:pt x="267" y="277"/>
                    <a:pt x="269" y="277"/>
                  </a:cubicBezTo>
                  <a:cubicBezTo>
                    <a:pt x="272" y="277"/>
                    <a:pt x="276" y="275"/>
                    <a:pt x="278" y="272"/>
                  </a:cubicBezTo>
                  <a:cubicBezTo>
                    <a:pt x="281" y="266"/>
                    <a:pt x="279" y="260"/>
                    <a:pt x="274" y="257"/>
                  </a:cubicBezTo>
                  <a:close/>
                  <a:moveTo>
                    <a:pt x="177" y="53"/>
                  </a:moveTo>
                  <a:cubicBezTo>
                    <a:pt x="170" y="45"/>
                    <a:pt x="170" y="45"/>
                    <a:pt x="170" y="45"/>
                  </a:cubicBezTo>
                  <a:cubicBezTo>
                    <a:pt x="165" y="41"/>
                    <a:pt x="159" y="41"/>
                    <a:pt x="154" y="45"/>
                  </a:cubicBezTo>
                  <a:cubicBezTo>
                    <a:pt x="146" y="54"/>
                    <a:pt x="146" y="54"/>
                    <a:pt x="146" y="54"/>
                  </a:cubicBezTo>
                  <a:cubicBezTo>
                    <a:pt x="137" y="57"/>
                    <a:pt x="106" y="64"/>
                    <a:pt x="89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9" y="28"/>
                    <a:pt x="116" y="21"/>
                    <a:pt x="141" y="21"/>
                  </a:cubicBezTo>
                  <a:cubicBezTo>
                    <a:pt x="165" y="21"/>
                    <a:pt x="182" y="28"/>
                    <a:pt x="192" y="41"/>
                  </a:cubicBezTo>
                  <a:cubicBezTo>
                    <a:pt x="192" y="41"/>
                    <a:pt x="192" y="41"/>
                    <a:pt x="193" y="41"/>
                  </a:cubicBezTo>
                  <a:cubicBezTo>
                    <a:pt x="187" y="49"/>
                    <a:pt x="180" y="52"/>
                    <a:pt x="177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6" name="Freeform 737">
            <a:extLst>
              <a:ext uri="{FF2B5EF4-FFF2-40B4-BE49-F238E27FC236}">
                <a16:creationId xmlns:a16="http://schemas.microsoft.com/office/drawing/2014/main" id="{F3F50625-E794-4C4E-848C-814B8C29E7B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93914" y="2907418"/>
            <a:ext cx="715186" cy="71729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96 h 512"/>
              <a:gd name="T12" fmla="*/ 288 w 512"/>
              <a:gd name="T13" fmla="*/ 128 h 512"/>
              <a:gd name="T14" fmla="*/ 256 w 512"/>
              <a:gd name="T15" fmla="*/ 160 h 512"/>
              <a:gd name="T16" fmla="*/ 224 w 512"/>
              <a:gd name="T17" fmla="*/ 128 h 512"/>
              <a:gd name="T18" fmla="*/ 256 w 512"/>
              <a:gd name="T19" fmla="*/ 96 h 512"/>
              <a:gd name="T20" fmla="*/ 309 w 512"/>
              <a:gd name="T21" fmla="*/ 298 h 512"/>
              <a:gd name="T22" fmla="*/ 298 w 512"/>
              <a:gd name="T23" fmla="*/ 309 h 512"/>
              <a:gd name="T24" fmla="*/ 288 w 512"/>
              <a:gd name="T25" fmla="*/ 309 h 512"/>
              <a:gd name="T26" fmla="*/ 288 w 512"/>
              <a:gd name="T27" fmla="*/ 405 h 512"/>
              <a:gd name="T28" fmla="*/ 277 w 512"/>
              <a:gd name="T29" fmla="*/ 416 h 512"/>
              <a:gd name="T30" fmla="*/ 266 w 512"/>
              <a:gd name="T31" fmla="*/ 405 h 512"/>
              <a:gd name="T32" fmla="*/ 266 w 512"/>
              <a:gd name="T33" fmla="*/ 309 h 512"/>
              <a:gd name="T34" fmla="*/ 245 w 512"/>
              <a:gd name="T35" fmla="*/ 309 h 512"/>
              <a:gd name="T36" fmla="*/ 245 w 512"/>
              <a:gd name="T37" fmla="*/ 405 h 512"/>
              <a:gd name="T38" fmla="*/ 234 w 512"/>
              <a:gd name="T39" fmla="*/ 416 h 512"/>
              <a:gd name="T40" fmla="*/ 224 w 512"/>
              <a:gd name="T41" fmla="*/ 405 h 512"/>
              <a:gd name="T42" fmla="*/ 224 w 512"/>
              <a:gd name="T43" fmla="*/ 309 h 512"/>
              <a:gd name="T44" fmla="*/ 213 w 512"/>
              <a:gd name="T45" fmla="*/ 309 h 512"/>
              <a:gd name="T46" fmla="*/ 202 w 512"/>
              <a:gd name="T47" fmla="*/ 298 h 512"/>
              <a:gd name="T48" fmla="*/ 202 w 512"/>
              <a:gd name="T49" fmla="*/ 192 h 512"/>
              <a:gd name="T50" fmla="*/ 213 w 512"/>
              <a:gd name="T51" fmla="*/ 181 h 512"/>
              <a:gd name="T52" fmla="*/ 298 w 512"/>
              <a:gd name="T53" fmla="*/ 181 h 512"/>
              <a:gd name="T54" fmla="*/ 309 w 512"/>
              <a:gd name="T55" fmla="*/ 192 h 512"/>
              <a:gd name="T56" fmla="*/ 309 w 512"/>
              <a:gd name="T57" fmla="*/ 298 h 512"/>
              <a:gd name="T58" fmla="*/ 224 w 512"/>
              <a:gd name="T59" fmla="*/ 202 h 512"/>
              <a:gd name="T60" fmla="*/ 288 w 512"/>
              <a:gd name="T61" fmla="*/ 202 h 512"/>
              <a:gd name="T62" fmla="*/ 288 w 512"/>
              <a:gd name="T63" fmla="*/ 288 h 512"/>
              <a:gd name="T64" fmla="*/ 224 w 512"/>
              <a:gd name="T65" fmla="*/ 288 h 512"/>
              <a:gd name="T66" fmla="*/ 224 w 512"/>
              <a:gd name="T67" fmla="*/ 202 h 512"/>
              <a:gd name="T68" fmla="*/ 245 w 512"/>
              <a:gd name="T69" fmla="*/ 128 h 512"/>
              <a:gd name="T70" fmla="*/ 256 w 512"/>
              <a:gd name="T71" fmla="*/ 117 h 512"/>
              <a:gd name="T72" fmla="*/ 266 w 512"/>
              <a:gd name="T73" fmla="*/ 128 h 512"/>
              <a:gd name="T74" fmla="*/ 256 w 512"/>
              <a:gd name="T75" fmla="*/ 138 h 512"/>
              <a:gd name="T76" fmla="*/ 245 w 512"/>
              <a:gd name="T77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96"/>
                </a:moveTo>
                <a:cubicBezTo>
                  <a:pt x="273" y="96"/>
                  <a:pt x="288" y="110"/>
                  <a:pt x="288" y="128"/>
                </a:cubicBezTo>
                <a:cubicBezTo>
                  <a:pt x="288" y="145"/>
                  <a:pt x="273" y="160"/>
                  <a:pt x="256" y="160"/>
                </a:cubicBezTo>
                <a:cubicBezTo>
                  <a:pt x="238" y="160"/>
                  <a:pt x="224" y="145"/>
                  <a:pt x="224" y="128"/>
                </a:cubicBezTo>
                <a:cubicBezTo>
                  <a:pt x="224" y="110"/>
                  <a:pt x="238" y="96"/>
                  <a:pt x="256" y="96"/>
                </a:cubicBezTo>
                <a:close/>
                <a:moveTo>
                  <a:pt x="309" y="298"/>
                </a:moveTo>
                <a:cubicBezTo>
                  <a:pt x="309" y="304"/>
                  <a:pt x="304" y="309"/>
                  <a:pt x="298" y="309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405"/>
                  <a:pt x="288" y="405"/>
                  <a:pt x="288" y="405"/>
                </a:cubicBezTo>
                <a:cubicBezTo>
                  <a:pt x="288" y="411"/>
                  <a:pt x="283" y="416"/>
                  <a:pt x="277" y="416"/>
                </a:cubicBezTo>
                <a:cubicBezTo>
                  <a:pt x="271" y="416"/>
                  <a:pt x="266" y="411"/>
                  <a:pt x="266" y="405"/>
                </a:cubicBezTo>
                <a:cubicBezTo>
                  <a:pt x="266" y="309"/>
                  <a:pt x="266" y="309"/>
                  <a:pt x="266" y="309"/>
                </a:cubicBezTo>
                <a:cubicBezTo>
                  <a:pt x="245" y="309"/>
                  <a:pt x="245" y="309"/>
                  <a:pt x="245" y="309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40" y="416"/>
                  <a:pt x="234" y="416"/>
                </a:cubicBezTo>
                <a:cubicBezTo>
                  <a:pt x="228" y="416"/>
                  <a:pt x="224" y="411"/>
                  <a:pt x="224" y="405"/>
                </a:cubicBezTo>
                <a:cubicBezTo>
                  <a:pt x="224" y="309"/>
                  <a:pt x="224" y="309"/>
                  <a:pt x="224" y="309"/>
                </a:cubicBezTo>
                <a:cubicBezTo>
                  <a:pt x="213" y="309"/>
                  <a:pt x="213" y="309"/>
                  <a:pt x="213" y="309"/>
                </a:cubicBezTo>
                <a:cubicBezTo>
                  <a:pt x="207" y="309"/>
                  <a:pt x="202" y="304"/>
                  <a:pt x="202" y="298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02" y="186"/>
                  <a:pt x="207" y="181"/>
                  <a:pt x="213" y="181"/>
                </a:cubicBezTo>
                <a:cubicBezTo>
                  <a:pt x="298" y="181"/>
                  <a:pt x="298" y="181"/>
                  <a:pt x="298" y="181"/>
                </a:cubicBezTo>
                <a:cubicBezTo>
                  <a:pt x="304" y="181"/>
                  <a:pt x="309" y="186"/>
                  <a:pt x="309" y="192"/>
                </a:cubicBezTo>
                <a:lnTo>
                  <a:pt x="309" y="298"/>
                </a:lnTo>
                <a:close/>
                <a:moveTo>
                  <a:pt x="224" y="202"/>
                </a:moveTo>
                <a:cubicBezTo>
                  <a:pt x="288" y="202"/>
                  <a:pt x="288" y="202"/>
                  <a:pt x="288" y="202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24" y="288"/>
                  <a:pt x="224" y="288"/>
                  <a:pt x="224" y="288"/>
                </a:cubicBezTo>
                <a:lnTo>
                  <a:pt x="224" y="202"/>
                </a:lnTo>
                <a:close/>
                <a:moveTo>
                  <a:pt x="245" y="128"/>
                </a:moveTo>
                <a:cubicBezTo>
                  <a:pt x="245" y="122"/>
                  <a:pt x="250" y="117"/>
                  <a:pt x="256" y="117"/>
                </a:cubicBezTo>
                <a:cubicBezTo>
                  <a:pt x="262" y="117"/>
                  <a:pt x="266" y="122"/>
                  <a:pt x="266" y="128"/>
                </a:cubicBezTo>
                <a:cubicBezTo>
                  <a:pt x="266" y="134"/>
                  <a:pt x="262" y="138"/>
                  <a:pt x="256" y="138"/>
                </a:cubicBezTo>
                <a:cubicBezTo>
                  <a:pt x="250" y="138"/>
                  <a:pt x="245" y="134"/>
                  <a:pt x="245" y="1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7" name="Freeform 547">
            <a:extLst>
              <a:ext uri="{FF2B5EF4-FFF2-40B4-BE49-F238E27FC236}">
                <a16:creationId xmlns:a16="http://schemas.microsoft.com/office/drawing/2014/main" id="{664AC0EC-181C-4CD5-B2C8-92C3A8794A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68190" y="3858195"/>
            <a:ext cx="727258" cy="727258"/>
          </a:xfrm>
          <a:custGeom>
            <a:avLst/>
            <a:gdLst>
              <a:gd name="T0" fmla="*/ 288 w 512"/>
              <a:gd name="T1" fmla="*/ 256 h 512"/>
              <a:gd name="T2" fmla="*/ 256 w 512"/>
              <a:gd name="T3" fmla="*/ 288 h 512"/>
              <a:gd name="T4" fmla="*/ 224 w 512"/>
              <a:gd name="T5" fmla="*/ 256 h 512"/>
              <a:gd name="T6" fmla="*/ 256 w 512"/>
              <a:gd name="T7" fmla="*/ 224 h 512"/>
              <a:gd name="T8" fmla="*/ 288 w 512"/>
              <a:gd name="T9" fmla="*/ 256 h 512"/>
              <a:gd name="T10" fmla="*/ 392 w 512"/>
              <a:gd name="T11" fmla="*/ 256 h 512"/>
              <a:gd name="T12" fmla="*/ 257 w 512"/>
              <a:gd name="T13" fmla="*/ 330 h 512"/>
              <a:gd name="T14" fmla="*/ 121 w 512"/>
              <a:gd name="T15" fmla="*/ 256 h 512"/>
              <a:gd name="T16" fmla="*/ 257 w 512"/>
              <a:gd name="T17" fmla="*/ 181 h 512"/>
              <a:gd name="T18" fmla="*/ 392 w 512"/>
              <a:gd name="T19" fmla="*/ 256 h 512"/>
              <a:gd name="T20" fmla="*/ 309 w 512"/>
              <a:gd name="T21" fmla="*/ 256 h 512"/>
              <a:gd name="T22" fmla="*/ 256 w 512"/>
              <a:gd name="T23" fmla="*/ 202 h 512"/>
              <a:gd name="T24" fmla="*/ 202 w 512"/>
              <a:gd name="T25" fmla="*/ 256 h 512"/>
              <a:gd name="T26" fmla="*/ 256 w 512"/>
              <a:gd name="T27" fmla="*/ 309 h 512"/>
              <a:gd name="T28" fmla="*/ 309 w 512"/>
              <a:gd name="T29" fmla="*/ 256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415 w 512"/>
              <a:gd name="T41" fmla="*/ 255 h 512"/>
              <a:gd name="T42" fmla="*/ 414 w 512"/>
              <a:gd name="T43" fmla="*/ 250 h 512"/>
              <a:gd name="T44" fmla="*/ 257 w 512"/>
              <a:gd name="T45" fmla="*/ 160 h 512"/>
              <a:gd name="T46" fmla="*/ 99 w 512"/>
              <a:gd name="T47" fmla="*/ 249 h 512"/>
              <a:gd name="T48" fmla="*/ 98 w 512"/>
              <a:gd name="T49" fmla="*/ 256 h 512"/>
              <a:gd name="T50" fmla="*/ 99 w 512"/>
              <a:gd name="T51" fmla="*/ 261 h 512"/>
              <a:gd name="T52" fmla="*/ 257 w 512"/>
              <a:gd name="T53" fmla="*/ 352 h 512"/>
              <a:gd name="T54" fmla="*/ 414 w 512"/>
              <a:gd name="T55" fmla="*/ 262 h 512"/>
              <a:gd name="T56" fmla="*/ 415 w 512"/>
              <a:gd name="T57" fmla="*/ 25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12" h="512">
                <a:moveTo>
                  <a:pt x="288" y="256"/>
                </a:move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73" y="224"/>
                  <a:pt x="288" y="238"/>
                  <a:pt x="288" y="256"/>
                </a:cubicBezTo>
                <a:close/>
                <a:moveTo>
                  <a:pt x="392" y="256"/>
                </a:moveTo>
                <a:cubicBezTo>
                  <a:pt x="365" y="293"/>
                  <a:pt x="316" y="330"/>
                  <a:pt x="257" y="330"/>
                </a:cubicBezTo>
                <a:cubicBezTo>
                  <a:pt x="192" y="330"/>
                  <a:pt x="143" y="286"/>
                  <a:pt x="121" y="256"/>
                </a:cubicBezTo>
                <a:cubicBezTo>
                  <a:pt x="148" y="218"/>
                  <a:pt x="197" y="181"/>
                  <a:pt x="257" y="181"/>
                </a:cubicBezTo>
                <a:cubicBezTo>
                  <a:pt x="321" y="181"/>
                  <a:pt x="370" y="226"/>
                  <a:pt x="392" y="256"/>
                </a:cubicBezTo>
                <a:close/>
                <a:moveTo>
                  <a:pt x="309" y="256"/>
                </a:moveTo>
                <a:cubicBezTo>
                  <a:pt x="309" y="226"/>
                  <a:pt x="285" y="202"/>
                  <a:pt x="256" y="202"/>
                </a:cubicBezTo>
                <a:cubicBezTo>
                  <a:pt x="226" y="202"/>
                  <a:pt x="202" y="226"/>
                  <a:pt x="202" y="256"/>
                </a:cubicBezTo>
                <a:cubicBezTo>
                  <a:pt x="202" y="285"/>
                  <a:pt x="226" y="309"/>
                  <a:pt x="256" y="309"/>
                </a:cubicBezTo>
                <a:cubicBezTo>
                  <a:pt x="285" y="309"/>
                  <a:pt x="309" y="285"/>
                  <a:pt x="309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55"/>
                </a:moveTo>
                <a:cubicBezTo>
                  <a:pt x="415" y="254"/>
                  <a:pt x="415" y="252"/>
                  <a:pt x="414" y="250"/>
                </a:cubicBezTo>
                <a:cubicBezTo>
                  <a:pt x="392" y="216"/>
                  <a:pt x="334" y="160"/>
                  <a:pt x="257" y="160"/>
                </a:cubicBezTo>
                <a:cubicBezTo>
                  <a:pt x="186" y="160"/>
                  <a:pt x="129" y="206"/>
                  <a:pt x="99" y="249"/>
                </a:cubicBezTo>
                <a:cubicBezTo>
                  <a:pt x="98" y="251"/>
                  <a:pt x="98" y="254"/>
                  <a:pt x="98" y="256"/>
                </a:cubicBezTo>
                <a:cubicBezTo>
                  <a:pt x="98" y="258"/>
                  <a:pt x="98" y="260"/>
                  <a:pt x="99" y="261"/>
                </a:cubicBezTo>
                <a:cubicBezTo>
                  <a:pt x="121" y="295"/>
                  <a:pt x="179" y="352"/>
                  <a:pt x="257" y="352"/>
                </a:cubicBezTo>
                <a:cubicBezTo>
                  <a:pt x="327" y="352"/>
                  <a:pt x="384" y="305"/>
                  <a:pt x="414" y="262"/>
                </a:cubicBezTo>
                <a:cubicBezTo>
                  <a:pt x="415" y="260"/>
                  <a:pt x="416" y="258"/>
                  <a:pt x="415" y="2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id="{371A763A-A733-4F46-BFE3-6CE76554554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42860" y="2919763"/>
            <a:ext cx="709988" cy="682481"/>
          </a:xfrm>
          <a:custGeom>
            <a:avLst/>
            <a:gdLst>
              <a:gd name="T0" fmla="*/ 120 w 384"/>
              <a:gd name="T1" fmla="*/ 184 h 384"/>
              <a:gd name="T2" fmla="*/ 136 w 384"/>
              <a:gd name="T3" fmla="*/ 168 h 384"/>
              <a:gd name="T4" fmla="*/ 152 w 384"/>
              <a:gd name="T5" fmla="*/ 184 h 384"/>
              <a:gd name="T6" fmla="*/ 136 w 384"/>
              <a:gd name="T7" fmla="*/ 200 h 384"/>
              <a:gd name="T8" fmla="*/ 120 w 384"/>
              <a:gd name="T9" fmla="*/ 184 h 384"/>
              <a:gd name="T10" fmla="*/ 384 w 384"/>
              <a:gd name="T11" fmla="*/ 192 h 384"/>
              <a:gd name="T12" fmla="*/ 192 w 384"/>
              <a:gd name="T13" fmla="*/ 384 h 384"/>
              <a:gd name="T14" fmla="*/ 0 w 384"/>
              <a:gd name="T15" fmla="*/ 192 h 384"/>
              <a:gd name="T16" fmla="*/ 192 w 384"/>
              <a:gd name="T17" fmla="*/ 0 h 384"/>
              <a:gd name="T18" fmla="*/ 384 w 384"/>
              <a:gd name="T19" fmla="*/ 192 h 384"/>
              <a:gd name="T20" fmla="*/ 104 w 384"/>
              <a:gd name="T21" fmla="*/ 184 h 384"/>
              <a:gd name="T22" fmla="*/ 136 w 384"/>
              <a:gd name="T23" fmla="*/ 216 h 384"/>
              <a:gd name="T24" fmla="*/ 168 w 384"/>
              <a:gd name="T25" fmla="*/ 184 h 384"/>
              <a:gd name="T26" fmla="*/ 136 w 384"/>
              <a:gd name="T27" fmla="*/ 152 h 384"/>
              <a:gd name="T28" fmla="*/ 104 w 384"/>
              <a:gd name="T29" fmla="*/ 184 h 384"/>
              <a:gd name="T30" fmla="*/ 192 w 384"/>
              <a:gd name="T31" fmla="*/ 240 h 384"/>
              <a:gd name="T32" fmla="*/ 184 w 384"/>
              <a:gd name="T33" fmla="*/ 232 h 384"/>
              <a:gd name="T34" fmla="*/ 88 w 384"/>
              <a:gd name="T35" fmla="*/ 232 h 384"/>
              <a:gd name="T36" fmla="*/ 80 w 384"/>
              <a:gd name="T37" fmla="*/ 240 h 384"/>
              <a:gd name="T38" fmla="*/ 80 w 384"/>
              <a:gd name="T39" fmla="*/ 264 h 384"/>
              <a:gd name="T40" fmla="*/ 88 w 384"/>
              <a:gd name="T41" fmla="*/ 272 h 384"/>
              <a:gd name="T42" fmla="*/ 96 w 384"/>
              <a:gd name="T43" fmla="*/ 264 h 384"/>
              <a:gd name="T44" fmla="*/ 96 w 384"/>
              <a:gd name="T45" fmla="*/ 248 h 384"/>
              <a:gd name="T46" fmla="*/ 176 w 384"/>
              <a:gd name="T47" fmla="*/ 248 h 384"/>
              <a:gd name="T48" fmla="*/ 176 w 384"/>
              <a:gd name="T49" fmla="*/ 264 h 384"/>
              <a:gd name="T50" fmla="*/ 184 w 384"/>
              <a:gd name="T51" fmla="*/ 272 h 384"/>
              <a:gd name="T52" fmla="*/ 192 w 384"/>
              <a:gd name="T53" fmla="*/ 264 h 384"/>
              <a:gd name="T54" fmla="*/ 192 w 384"/>
              <a:gd name="T55" fmla="*/ 240 h 384"/>
              <a:gd name="T56" fmla="*/ 216 w 384"/>
              <a:gd name="T57" fmla="*/ 183 h 384"/>
              <a:gd name="T58" fmla="*/ 207 w 384"/>
              <a:gd name="T59" fmla="*/ 162 h 384"/>
              <a:gd name="T60" fmla="*/ 196 w 384"/>
              <a:gd name="T61" fmla="*/ 161 h 384"/>
              <a:gd name="T62" fmla="*/ 196 w 384"/>
              <a:gd name="T63" fmla="*/ 172 h 384"/>
              <a:gd name="T64" fmla="*/ 200 w 384"/>
              <a:gd name="T65" fmla="*/ 183 h 384"/>
              <a:gd name="T66" fmla="*/ 196 w 384"/>
              <a:gd name="T67" fmla="*/ 194 h 384"/>
              <a:gd name="T68" fmla="*/ 196 w 384"/>
              <a:gd name="T69" fmla="*/ 205 h 384"/>
              <a:gd name="T70" fmla="*/ 202 w 384"/>
              <a:gd name="T71" fmla="*/ 207 h 384"/>
              <a:gd name="T72" fmla="*/ 207 w 384"/>
              <a:gd name="T73" fmla="*/ 205 h 384"/>
              <a:gd name="T74" fmla="*/ 216 w 384"/>
              <a:gd name="T75" fmla="*/ 183 h 384"/>
              <a:gd name="T76" fmla="*/ 258 w 384"/>
              <a:gd name="T77" fmla="*/ 183 h 384"/>
              <a:gd name="T78" fmla="*/ 233 w 384"/>
              <a:gd name="T79" fmla="*/ 129 h 384"/>
              <a:gd name="T80" fmla="*/ 221 w 384"/>
              <a:gd name="T81" fmla="*/ 130 h 384"/>
              <a:gd name="T82" fmla="*/ 222 w 384"/>
              <a:gd name="T83" fmla="*/ 141 h 384"/>
              <a:gd name="T84" fmla="*/ 242 w 384"/>
              <a:gd name="T85" fmla="*/ 183 h 384"/>
              <a:gd name="T86" fmla="*/ 222 w 384"/>
              <a:gd name="T87" fmla="*/ 225 h 384"/>
              <a:gd name="T88" fmla="*/ 221 w 384"/>
              <a:gd name="T89" fmla="*/ 237 h 384"/>
              <a:gd name="T90" fmla="*/ 227 w 384"/>
              <a:gd name="T91" fmla="*/ 239 h 384"/>
              <a:gd name="T92" fmla="*/ 233 w 384"/>
              <a:gd name="T93" fmla="*/ 238 h 384"/>
              <a:gd name="T94" fmla="*/ 258 w 384"/>
              <a:gd name="T95" fmla="*/ 183 h 384"/>
              <a:gd name="T96" fmla="*/ 301 w 384"/>
              <a:gd name="T97" fmla="*/ 183 h 384"/>
              <a:gd name="T98" fmla="*/ 258 w 384"/>
              <a:gd name="T99" fmla="*/ 96 h 384"/>
              <a:gd name="T100" fmla="*/ 247 w 384"/>
              <a:gd name="T101" fmla="*/ 98 h 384"/>
              <a:gd name="T102" fmla="*/ 248 w 384"/>
              <a:gd name="T103" fmla="*/ 109 h 384"/>
              <a:gd name="T104" fmla="*/ 285 w 384"/>
              <a:gd name="T105" fmla="*/ 183 h 384"/>
              <a:gd name="T106" fmla="*/ 248 w 384"/>
              <a:gd name="T107" fmla="*/ 257 h 384"/>
              <a:gd name="T108" fmla="*/ 247 w 384"/>
              <a:gd name="T109" fmla="*/ 269 h 384"/>
              <a:gd name="T110" fmla="*/ 253 w 384"/>
              <a:gd name="T111" fmla="*/ 272 h 384"/>
              <a:gd name="T112" fmla="*/ 258 w 384"/>
              <a:gd name="T113" fmla="*/ 270 h 384"/>
              <a:gd name="T114" fmla="*/ 301 w 384"/>
              <a:gd name="T115" fmla="*/ 183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84" h="384">
                <a:moveTo>
                  <a:pt x="120" y="184"/>
                </a:moveTo>
                <a:cubicBezTo>
                  <a:pt x="120" y="175"/>
                  <a:pt x="127" y="168"/>
                  <a:pt x="136" y="168"/>
                </a:cubicBezTo>
                <a:cubicBezTo>
                  <a:pt x="144" y="168"/>
                  <a:pt x="152" y="175"/>
                  <a:pt x="152" y="184"/>
                </a:cubicBezTo>
                <a:cubicBezTo>
                  <a:pt x="152" y="192"/>
                  <a:pt x="144" y="200"/>
                  <a:pt x="136" y="200"/>
                </a:cubicBezTo>
                <a:cubicBezTo>
                  <a:pt x="127" y="200"/>
                  <a:pt x="120" y="192"/>
                  <a:pt x="120" y="184"/>
                </a:cubicBezTo>
                <a:close/>
                <a:moveTo>
                  <a:pt x="384" y="192"/>
                </a:moveTo>
                <a:cubicBezTo>
                  <a:pt x="384" y="298"/>
                  <a:pt x="298" y="384"/>
                  <a:pt x="192" y="384"/>
                </a:cubicBezTo>
                <a:cubicBezTo>
                  <a:pt x="86" y="384"/>
                  <a:pt x="0" y="298"/>
                  <a:pt x="0" y="192"/>
                </a:cubicBezTo>
                <a:cubicBezTo>
                  <a:pt x="0" y="86"/>
                  <a:pt x="86" y="0"/>
                  <a:pt x="192" y="0"/>
                </a:cubicBezTo>
                <a:cubicBezTo>
                  <a:pt x="298" y="0"/>
                  <a:pt x="384" y="86"/>
                  <a:pt x="384" y="192"/>
                </a:cubicBezTo>
                <a:close/>
                <a:moveTo>
                  <a:pt x="104" y="184"/>
                </a:moveTo>
                <a:cubicBezTo>
                  <a:pt x="104" y="201"/>
                  <a:pt x="118" y="216"/>
                  <a:pt x="136" y="216"/>
                </a:cubicBezTo>
                <a:cubicBezTo>
                  <a:pt x="153" y="216"/>
                  <a:pt x="168" y="201"/>
                  <a:pt x="168" y="184"/>
                </a:cubicBezTo>
                <a:cubicBezTo>
                  <a:pt x="168" y="166"/>
                  <a:pt x="153" y="152"/>
                  <a:pt x="136" y="152"/>
                </a:cubicBezTo>
                <a:cubicBezTo>
                  <a:pt x="118" y="152"/>
                  <a:pt x="104" y="166"/>
                  <a:pt x="104" y="184"/>
                </a:cubicBezTo>
                <a:close/>
                <a:moveTo>
                  <a:pt x="192" y="240"/>
                </a:moveTo>
                <a:cubicBezTo>
                  <a:pt x="192" y="235"/>
                  <a:pt x="188" y="232"/>
                  <a:pt x="184" y="232"/>
                </a:cubicBezTo>
                <a:cubicBezTo>
                  <a:pt x="88" y="232"/>
                  <a:pt x="88" y="232"/>
                  <a:pt x="88" y="232"/>
                </a:cubicBezTo>
                <a:cubicBezTo>
                  <a:pt x="83" y="232"/>
                  <a:pt x="80" y="235"/>
                  <a:pt x="80" y="240"/>
                </a:cubicBezTo>
                <a:cubicBezTo>
                  <a:pt x="80" y="264"/>
                  <a:pt x="80" y="264"/>
                  <a:pt x="80" y="264"/>
                </a:cubicBezTo>
                <a:cubicBezTo>
                  <a:pt x="80" y="268"/>
                  <a:pt x="83" y="272"/>
                  <a:pt x="88" y="272"/>
                </a:cubicBezTo>
                <a:cubicBezTo>
                  <a:pt x="92" y="272"/>
                  <a:pt x="96" y="268"/>
                  <a:pt x="96" y="264"/>
                </a:cubicBezTo>
                <a:cubicBezTo>
                  <a:pt x="96" y="248"/>
                  <a:pt x="96" y="248"/>
                  <a:pt x="96" y="248"/>
                </a:cubicBezTo>
                <a:cubicBezTo>
                  <a:pt x="176" y="248"/>
                  <a:pt x="176" y="248"/>
                  <a:pt x="176" y="248"/>
                </a:cubicBezTo>
                <a:cubicBezTo>
                  <a:pt x="176" y="264"/>
                  <a:pt x="176" y="264"/>
                  <a:pt x="176" y="264"/>
                </a:cubicBezTo>
                <a:cubicBezTo>
                  <a:pt x="176" y="268"/>
                  <a:pt x="179" y="272"/>
                  <a:pt x="184" y="272"/>
                </a:cubicBezTo>
                <a:cubicBezTo>
                  <a:pt x="188" y="272"/>
                  <a:pt x="192" y="268"/>
                  <a:pt x="192" y="264"/>
                </a:cubicBezTo>
                <a:lnTo>
                  <a:pt x="192" y="240"/>
                </a:lnTo>
                <a:close/>
                <a:moveTo>
                  <a:pt x="216" y="183"/>
                </a:moveTo>
                <a:cubicBezTo>
                  <a:pt x="216" y="175"/>
                  <a:pt x="213" y="167"/>
                  <a:pt x="207" y="162"/>
                </a:cubicBezTo>
                <a:cubicBezTo>
                  <a:pt x="204" y="158"/>
                  <a:pt x="199" y="158"/>
                  <a:pt x="196" y="161"/>
                </a:cubicBezTo>
                <a:cubicBezTo>
                  <a:pt x="193" y="164"/>
                  <a:pt x="193" y="169"/>
                  <a:pt x="196" y="172"/>
                </a:cubicBezTo>
                <a:cubicBezTo>
                  <a:pt x="198" y="175"/>
                  <a:pt x="200" y="179"/>
                  <a:pt x="200" y="183"/>
                </a:cubicBezTo>
                <a:cubicBezTo>
                  <a:pt x="200" y="187"/>
                  <a:pt x="198" y="191"/>
                  <a:pt x="196" y="194"/>
                </a:cubicBezTo>
                <a:cubicBezTo>
                  <a:pt x="193" y="197"/>
                  <a:pt x="193" y="202"/>
                  <a:pt x="196" y="205"/>
                </a:cubicBezTo>
                <a:cubicBezTo>
                  <a:pt x="198" y="206"/>
                  <a:pt x="200" y="207"/>
                  <a:pt x="202" y="207"/>
                </a:cubicBezTo>
                <a:cubicBezTo>
                  <a:pt x="204" y="207"/>
                  <a:pt x="206" y="206"/>
                  <a:pt x="207" y="205"/>
                </a:cubicBezTo>
                <a:cubicBezTo>
                  <a:pt x="213" y="199"/>
                  <a:pt x="216" y="191"/>
                  <a:pt x="216" y="183"/>
                </a:cubicBezTo>
                <a:close/>
                <a:moveTo>
                  <a:pt x="258" y="183"/>
                </a:moveTo>
                <a:cubicBezTo>
                  <a:pt x="258" y="162"/>
                  <a:pt x="249" y="142"/>
                  <a:pt x="233" y="129"/>
                </a:cubicBezTo>
                <a:cubicBezTo>
                  <a:pt x="229" y="126"/>
                  <a:pt x="224" y="126"/>
                  <a:pt x="221" y="130"/>
                </a:cubicBezTo>
                <a:cubicBezTo>
                  <a:pt x="218" y="133"/>
                  <a:pt x="219" y="138"/>
                  <a:pt x="222" y="141"/>
                </a:cubicBezTo>
                <a:cubicBezTo>
                  <a:pt x="235" y="152"/>
                  <a:pt x="242" y="167"/>
                  <a:pt x="242" y="183"/>
                </a:cubicBezTo>
                <a:cubicBezTo>
                  <a:pt x="242" y="199"/>
                  <a:pt x="235" y="215"/>
                  <a:pt x="222" y="225"/>
                </a:cubicBezTo>
                <a:cubicBezTo>
                  <a:pt x="219" y="228"/>
                  <a:pt x="218" y="233"/>
                  <a:pt x="221" y="237"/>
                </a:cubicBezTo>
                <a:cubicBezTo>
                  <a:pt x="223" y="238"/>
                  <a:pt x="225" y="239"/>
                  <a:pt x="227" y="239"/>
                </a:cubicBezTo>
                <a:cubicBezTo>
                  <a:pt x="229" y="239"/>
                  <a:pt x="231" y="239"/>
                  <a:pt x="233" y="238"/>
                </a:cubicBezTo>
                <a:cubicBezTo>
                  <a:pt x="249" y="224"/>
                  <a:pt x="258" y="204"/>
                  <a:pt x="258" y="183"/>
                </a:cubicBezTo>
                <a:close/>
                <a:moveTo>
                  <a:pt x="301" y="183"/>
                </a:moveTo>
                <a:cubicBezTo>
                  <a:pt x="301" y="149"/>
                  <a:pt x="285" y="118"/>
                  <a:pt x="258" y="96"/>
                </a:cubicBezTo>
                <a:cubicBezTo>
                  <a:pt x="254" y="94"/>
                  <a:pt x="249" y="94"/>
                  <a:pt x="247" y="98"/>
                </a:cubicBezTo>
                <a:cubicBezTo>
                  <a:pt x="244" y="101"/>
                  <a:pt x="244" y="106"/>
                  <a:pt x="248" y="109"/>
                </a:cubicBezTo>
                <a:cubicBezTo>
                  <a:pt x="271" y="127"/>
                  <a:pt x="285" y="154"/>
                  <a:pt x="285" y="183"/>
                </a:cubicBezTo>
                <a:cubicBezTo>
                  <a:pt x="285" y="212"/>
                  <a:pt x="271" y="239"/>
                  <a:pt x="248" y="257"/>
                </a:cubicBezTo>
                <a:cubicBezTo>
                  <a:pt x="244" y="260"/>
                  <a:pt x="244" y="265"/>
                  <a:pt x="247" y="269"/>
                </a:cubicBezTo>
                <a:cubicBezTo>
                  <a:pt x="248" y="271"/>
                  <a:pt x="251" y="272"/>
                  <a:pt x="253" y="272"/>
                </a:cubicBezTo>
                <a:cubicBezTo>
                  <a:pt x="255" y="272"/>
                  <a:pt x="256" y="271"/>
                  <a:pt x="258" y="270"/>
                </a:cubicBezTo>
                <a:cubicBezTo>
                  <a:pt x="285" y="248"/>
                  <a:pt x="301" y="217"/>
                  <a:pt x="301" y="18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9" name="Freeform 232">
            <a:extLst>
              <a:ext uri="{FF2B5EF4-FFF2-40B4-BE49-F238E27FC236}">
                <a16:creationId xmlns:a16="http://schemas.microsoft.com/office/drawing/2014/main" id="{D54EF1B8-4DDA-4866-B143-4F55CD388B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28690" y="3835617"/>
            <a:ext cx="714948" cy="714948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0" name="Freeform 173">
            <a:extLst>
              <a:ext uri="{FF2B5EF4-FFF2-40B4-BE49-F238E27FC236}">
                <a16:creationId xmlns:a16="http://schemas.microsoft.com/office/drawing/2014/main" id="{7936C7B8-3141-4F93-9915-EEEF956B05B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17728" y="4333957"/>
            <a:ext cx="694272" cy="694272"/>
          </a:xfrm>
          <a:custGeom>
            <a:avLst/>
            <a:gdLst>
              <a:gd name="T0" fmla="*/ 392 w 512"/>
              <a:gd name="T1" fmla="*/ 188 h 512"/>
              <a:gd name="T2" fmla="*/ 394 w 512"/>
              <a:gd name="T3" fmla="*/ 193 h 512"/>
              <a:gd name="T4" fmla="*/ 393 w 512"/>
              <a:gd name="T5" fmla="*/ 196 h 512"/>
              <a:gd name="T6" fmla="*/ 267 w 512"/>
              <a:gd name="T7" fmla="*/ 325 h 512"/>
              <a:gd name="T8" fmla="*/ 266 w 512"/>
              <a:gd name="T9" fmla="*/ 323 h 512"/>
              <a:gd name="T10" fmla="*/ 254 w 512"/>
              <a:gd name="T11" fmla="*/ 315 h 512"/>
              <a:gd name="T12" fmla="*/ 383 w 512"/>
              <a:gd name="T13" fmla="*/ 186 h 512"/>
              <a:gd name="T14" fmla="*/ 392 w 512"/>
              <a:gd name="T15" fmla="*/ 18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143 w 512"/>
              <a:gd name="T27" fmla="*/ 360 h 512"/>
              <a:gd name="T28" fmla="*/ 149 w 512"/>
              <a:gd name="T29" fmla="*/ 362 h 512"/>
              <a:gd name="T30" fmla="*/ 158 w 512"/>
              <a:gd name="T31" fmla="*/ 358 h 512"/>
              <a:gd name="T32" fmla="*/ 155 w 512"/>
              <a:gd name="T33" fmla="*/ 343 h 512"/>
              <a:gd name="T34" fmla="*/ 143 w 512"/>
              <a:gd name="T35" fmla="*/ 327 h 512"/>
              <a:gd name="T36" fmla="*/ 153 w 512"/>
              <a:gd name="T37" fmla="*/ 319 h 512"/>
              <a:gd name="T38" fmla="*/ 194 w 512"/>
              <a:gd name="T39" fmla="*/ 263 h 512"/>
              <a:gd name="T40" fmla="*/ 105 w 512"/>
              <a:gd name="T41" fmla="*/ 234 h 512"/>
              <a:gd name="T42" fmla="*/ 96 w 512"/>
              <a:gd name="T43" fmla="*/ 246 h 512"/>
              <a:gd name="T44" fmla="*/ 107 w 512"/>
              <a:gd name="T45" fmla="*/ 256 h 512"/>
              <a:gd name="T46" fmla="*/ 174 w 512"/>
              <a:gd name="T47" fmla="*/ 269 h 512"/>
              <a:gd name="T48" fmla="*/ 145 w 512"/>
              <a:gd name="T49" fmla="*/ 299 h 512"/>
              <a:gd name="T50" fmla="*/ 122 w 512"/>
              <a:gd name="T51" fmla="*/ 326 h 512"/>
              <a:gd name="T52" fmla="*/ 143 w 512"/>
              <a:gd name="T53" fmla="*/ 360 h 512"/>
              <a:gd name="T54" fmla="*/ 416 w 512"/>
              <a:gd name="T55" fmla="*/ 191 h 512"/>
              <a:gd name="T56" fmla="*/ 407 w 512"/>
              <a:gd name="T57" fmla="*/ 173 h 512"/>
              <a:gd name="T58" fmla="*/ 368 w 512"/>
              <a:gd name="T59" fmla="*/ 171 h 512"/>
              <a:gd name="T60" fmla="*/ 230 w 512"/>
              <a:gd name="T61" fmla="*/ 309 h 512"/>
              <a:gd name="T62" fmla="*/ 182 w 512"/>
              <a:gd name="T63" fmla="*/ 348 h 512"/>
              <a:gd name="T64" fmla="*/ 150 w 512"/>
              <a:gd name="T65" fmla="*/ 373 h 512"/>
              <a:gd name="T66" fmla="*/ 139 w 512"/>
              <a:gd name="T67" fmla="*/ 381 h 512"/>
              <a:gd name="T68" fmla="*/ 145 w 512"/>
              <a:gd name="T69" fmla="*/ 394 h 512"/>
              <a:gd name="T70" fmla="*/ 212 w 512"/>
              <a:gd name="T71" fmla="*/ 406 h 512"/>
              <a:gd name="T72" fmla="*/ 255 w 512"/>
              <a:gd name="T73" fmla="*/ 395 h 512"/>
              <a:gd name="T74" fmla="*/ 277 w 512"/>
              <a:gd name="T75" fmla="*/ 352 h 512"/>
              <a:gd name="T76" fmla="*/ 277 w 512"/>
              <a:gd name="T77" fmla="*/ 346 h 512"/>
              <a:gd name="T78" fmla="*/ 409 w 512"/>
              <a:gd name="T79" fmla="*/ 211 h 512"/>
              <a:gd name="T80" fmla="*/ 416 w 512"/>
              <a:gd name="T81" fmla="*/ 191 h 512"/>
              <a:gd name="T82" fmla="*/ 234 w 512"/>
              <a:gd name="T83" fmla="*/ 330 h 512"/>
              <a:gd name="T84" fmla="*/ 202 w 512"/>
              <a:gd name="T85" fmla="*/ 355 h 512"/>
              <a:gd name="T86" fmla="*/ 185 w 512"/>
              <a:gd name="T87" fmla="*/ 382 h 512"/>
              <a:gd name="T88" fmla="*/ 243 w 512"/>
              <a:gd name="T89" fmla="*/ 377 h 512"/>
              <a:gd name="T90" fmla="*/ 256 w 512"/>
              <a:gd name="T91" fmla="*/ 351 h 512"/>
              <a:gd name="T92" fmla="*/ 250 w 512"/>
              <a:gd name="T93" fmla="*/ 338 h 512"/>
              <a:gd name="T94" fmla="*/ 234 w 512"/>
              <a:gd name="T95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512">
                <a:moveTo>
                  <a:pt x="392" y="188"/>
                </a:moveTo>
                <a:cubicBezTo>
                  <a:pt x="393" y="189"/>
                  <a:pt x="394" y="191"/>
                  <a:pt x="394" y="193"/>
                </a:cubicBezTo>
                <a:cubicBezTo>
                  <a:pt x="394" y="194"/>
                  <a:pt x="394" y="195"/>
                  <a:pt x="393" y="196"/>
                </a:cubicBezTo>
                <a:cubicBezTo>
                  <a:pt x="267" y="325"/>
                  <a:pt x="267" y="325"/>
                  <a:pt x="267" y="325"/>
                </a:cubicBezTo>
                <a:cubicBezTo>
                  <a:pt x="267" y="324"/>
                  <a:pt x="266" y="324"/>
                  <a:pt x="266" y="323"/>
                </a:cubicBezTo>
                <a:cubicBezTo>
                  <a:pt x="263" y="320"/>
                  <a:pt x="259" y="317"/>
                  <a:pt x="254" y="315"/>
                </a:cubicBezTo>
                <a:cubicBezTo>
                  <a:pt x="383" y="186"/>
                  <a:pt x="383" y="186"/>
                  <a:pt x="383" y="186"/>
                </a:cubicBezTo>
                <a:cubicBezTo>
                  <a:pt x="385" y="184"/>
                  <a:pt x="389" y="185"/>
                  <a:pt x="392" y="18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43" y="360"/>
                </a:moveTo>
                <a:cubicBezTo>
                  <a:pt x="145" y="362"/>
                  <a:pt x="147" y="362"/>
                  <a:pt x="149" y="362"/>
                </a:cubicBezTo>
                <a:cubicBezTo>
                  <a:pt x="152" y="362"/>
                  <a:pt x="156" y="361"/>
                  <a:pt x="158" y="358"/>
                </a:cubicBezTo>
                <a:cubicBezTo>
                  <a:pt x="161" y="353"/>
                  <a:pt x="160" y="346"/>
                  <a:pt x="155" y="343"/>
                </a:cubicBezTo>
                <a:cubicBezTo>
                  <a:pt x="151" y="340"/>
                  <a:pt x="143" y="332"/>
                  <a:pt x="143" y="327"/>
                </a:cubicBezTo>
                <a:cubicBezTo>
                  <a:pt x="143" y="325"/>
                  <a:pt x="147" y="322"/>
                  <a:pt x="153" y="319"/>
                </a:cubicBezTo>
                <a:cubicBezTo>
                  <a:pt x="183" y="305"/>
                  <a:pt x="200" y="283"/>
                  <a:pt x="194" y="263"/>
                </a:cubicBezTo>
                <a:cubicBezTo>
                  <a:pt x="191" y="250"/>
                  <a:pt x="175" y="228"/>
                  <a:pt x="105" y="234"/>
                </a:cubicBezTo>
                <a:cubicBezTo>
                  <a:pt x="100" y="235"/>
                  <a:pt x="95" y="240"/>
                  <a:pt x="96" y="246"/>
                </a:cubicBezTo>
                <a:cubicBezTo>
                  <a:pt x="96" y="252"/>
                  <a:pt x="101" y="256"/>
                  <a:pt x="107" y="256"/>
                </a:cubicBezTo>
                <a:cubicBezTo>
                  <a:pt x="156" y="251"/>
                  <a:pt x="172" y="262"/>
                  <a:pt x="174" y="269"/>
                </a:cubicBezTo>
                <a:cubicBezTo>
                  <a:pt x="176" y="276"/>
                  <a:pt x="165" y="290"/>
                  <a:pt x="145" y="299"/>
                </a:cubicBezTo>
                <a:cubicBezTo>
                  <a:pt x="130" y="306"/>
                  <a:pt x="123" y="315"/>
                  <a:pt x="122" y="326"/>
                </a:cubicBezTo>
                <a:cubicBezTo>
                  <a:pt x="120" y="344"/>
                  <a:pt x="141" y="359"/>
                  <a:pt x="143" y="360"/>
                </a:cubicBezTo>
                <a:close/>
                <a:moveTo>
                  <a:pt x="416" y="191"/>
                </a:moveTo>
                <a:cubicBezTo>
                  <a:pt x="415" y="185"/>
                  <a:pt x="412" y="178"/>
                  <a:pt x="407" y="173"/>
                </a:cubicBezTo>
                <a:cubicBezTo>
                  <a:pt x="396" y="162"/>
                  <a:pt x="378" y="161"/>
                  <a:pt x="368" y="171"/>
                </a:cubicBezTo>
                <a:cubicBezTo>
                  <a:pt x="230" y="309"/>
                  <a:pt x="230" y="309"/>
                  <a:pt x="230" y="309"/>
                </a:cubicBezTo>
                <a:cubicBezTo>
                  <a:pt x="217" y="310"/>
                  <a:pt x="193" y="314"/>
                  <a:pt x="182" y="348"/>
                </a:cubicBezTo>
                <a:cubicBezTo>
                  <a:pt x="173" y="374"/>
                  <a:pt x="152" y="373"/>
                  <a:pt x="150" y="373"/>
                </a:cubicBezTo>
                <a:cubicBezTo>
                  <a:pt x="145" y="372"/>
                  <a:pt x="140" y="376"/>
                  <a:pt x="139" y="381"/>
                </a:cubicBezTo>
                <a:cubicBezTo>
                  <a:pt x="137" y="386"/>
                  <a:pt x="140" y="392"/>
                  <a:pt x="145" y="394"/>
                </a:cubicBezTo>
                <a:cubicBezTo>
                  <a:pt x="147" y="394"/>
                  <a:pt x="179" y="406"/>
                  <a:pt x="212" y="406"/>
                </a:cubicBezTo>
                <a:cubicBezTo>
                  <a:pt x="227" y="406"/>
                  <a:pt x="243" y="403"/>
                  <a:pt x="255" y="395"/>
                </a:cubicBezTo>
                <a:cubicBezTo>
                  <a:pt x="269" y="386"/>
                  <a:pt x="276" y="372"/>
                  <a:pt x="277" y="352"/>
                </a:cubicBezTo>
                <a:cubicBezTo>
                  <a:pt x="277" y="350"/>
                  <a:pt x="277" y="348"/>
                  <a:pt x="277" y="346"/>
                </a:cubicBezTo>
                <a:cubicBezTo>
                  <a:pt x="409" y="211"/>
                  <a:pt x="409" y="211"/>
                  <a:pt x="409" y="211"/>
                </a:cubicBezTo>
                <a:cubicBezTo>
                  <a:pt x="414" y="206"/>
                  <a:pt x="416" y="199"/>
                  <a:pt x="416" y="191"/>
                </a:cubicBezTo>
                <a:close/>
                <a:moveTo>
                  <a:pt x="234" y="330"/>
                </a:moveTo>
                <a:cubicBezTo>
                  <a:pt x="222" y="331"/>
                  <a:pt x="209" y="334"/>
                  <a:pt x="202" y="355"/>
                </a:cubicBezTo>
                <a:cubicBezTo>
                  <a:pt x="198" y="367"/>
                  <a:pt x="192" y="376"/>
                  <a:pt x="185" y="382"/>
                </a:cubicBezTo>
                <a:cubicBezTo>
                  <a:pt x="205" y="386"/>
                  <a:pt x="229" y="387"/>
                  <a:pt x="243" y="377"/>
                </a:cubicBezTo>
                <a:cubicBezTo>
                  <a:pt x="251" y="372"/>
                  <a:pt x="255" y="364"/>
                  <a:pt x="256" y="351"/>
                </a:cubicBezTo>
                <a:cubicBezTo>
                  <a:pt x="256" y="346"/>
                  <a:pt x="254" y="342"/>
                  <a:pt x="250" y="338"/>
                </a:cubicBezTo>
                <a:cubicBezTo>
                  <a:pt x="246" y="333"/>
                  <a:pt x="239" y="330"/>
                  <a:pt x="234" y="3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581613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89</TotalTime>
  <Words>21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Open Sans</vt:lpstr>
      <vt:lpstr>Verdana</vt:lpstr>
      <vt:lpstr>Wingdings 2</vt:lpstr>
      <vt:lpstr>Deloitte_US_Onscreen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it impacts ?</dc:title>
  <dc:creator>Administrator</dc:creator>
  <cp:lastModifiedBy>Addela, Deekshith Reddy (US - Hyderabad)</cp:lastModifiedBy>
  <cp:revision>184</cp:revision>
  <dcterms:created xsi:type="dcterms:W3CDTF">2018-03-15T09:50:31Z</dcterms:created>
  <dcterms:modified xsi:type="dcterms:W3CDTF">2019-03-19T07:03:22Z</dcterms:modified>
</cp:coreProperties>
</file>